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1"/>
  </p:sldMasterIdLst>
  <p:notesMasterIdLst>
    <p:notesMasterId r:id="rId11"/>
  </p:notesMasterIdLst>
  <p:handoutMasterIdLst>
    <p:handoutMasterId r:id="rId12"/>
  </p:handoutMasterIdLst>
  <p:sldIdLst>
    <p:sldId id="532" r:id="rId2"/>
    <p:sldId id="533" r:id="rId3"/>
    <p:sldId id="400" r:id="rId4"/>
    <p:sldId id="534" r:id="rId5"/>
    <p:sldId id="404" r:id="rId6"/>
    <p:sldId id="535" r:id="rId7"/>
    <p:sldId id="537" r:id="rId8"/>
    <p:sldId id="536" r:id="rId9"/>
    <p:sldId id="538" r:id="rId10"/>
  </p:sldIdLst>
  <p:sldSz cx="12188825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see, Joseph" initials="LJ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99"/>
    <a:srgbClr val="6699FF"/>
    <a:srgbClr val="B9B9B9"/>
    <a:srgbClr val="00668A"/>
    <a:srgbClr val="3F3F3F"/>
    <a:srgbClr val="0070C0"/>
    <a:srgbClr val="FFFFFF"/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09" autoAdjust="0"/>
    <p:restoredTop sz="80136" autoAdjust="0"/>
  </p:normalViewPr>
  <p:slideViewPr>
    <p:cSldViewPr>
      <p:cViewPr varScale="1">
        <p:scale>
          <a:sx n="101" d="100"/>
          <a:sy n="101" d="100"/>
        </p:scale>
        <p:origin x="1336" y="19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9454"/>
    </p:cViewPr>
  </p:sorterViewPr>
  <p:notesViewPr>
    <p:cSldViewPr>
      <p:cViewPr varScale="1">
        <p:scale>
          <a:sx n="66" d="100"/>
          <a:sy n="66" d="100"/>
        </p:scale>
        <p:origin x="3043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C2DB20-EFFD-4E7B-93C1-553BACDC4218}" type="doc">
      <dgm:prSet loTypeId="urn:microsoft.com/office/officeart/2008/layout/LinedList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B291CD-C87A-4E73-A31F-A5E8DC48EC04}">
      <dgm:prSet/>
      <dgm:spPr/>
      <dgm:t>
        <a:bodyPr/>
        <a:lstStyle/>
        <a:p>
          <a:r>
            <a:rPr lang="en-CA" dirty="0"/>
            <a:t>What are taxes?</a:t>
          </a:r>
          <a:endParaRPr lang="en-US" dirty="0"/>
        </a:p>
      </dgm:t>
    </dgm:pt>
    <dgm:pt modelId="{E99F5492-A06F-4526-99D6-3D5D0DAAB8D2}" type="parTrans" cxnId="{C8BF1404-11AF-480F-8668-46368F1D8C9B}">
      <dgm:prSet/>
      <dgm:spPr/>
      <dgm:t>
        <a:bodyPr/>
        <a:lstStyle/>
        <a:p>
          <a:endParaRPr lang="en-US"/>
        </a:p>
      </dgm:t>
    </dgm:pt>
    <dgm:pt modelId="{EB8001B5-1F3F-4B4C-99B7-5E44380F79E6}" type="sibTrans" cxnId="{C8BF1404-11AF-480F-8668-46368F1D8C9B}">
      <dgm:prSet/>
      <dgm:spPr/>
      <dgm:t>
        <a:bodyPr/>
        <a:lstStyle/>
        <a:p>
          <a:endParaRPr lang="en-US"/>
        </a:p>
      </dgm:t>
    </dgm:pt>
    <dgm:pt modelId="{4412E678-8AFD-BC4D-BB2E-609D454463DF}">
      <dgm:prSet/>
      <dgm:spPr/>
      <dgm:t>
        <a:bodyPr/>
        <a:lstStyle/>
        <a:p>
          <a:r>
            <a:rPr lang="en-US" dirty="0"/>
            <a:t>How are our tax dollars spent?</a:t>
          </a:r>
        </a:p>
      </dgm:t>
    </dgm:pt>
    <dgm:pt modelId="{DE67A28B-7D5F-234F-9427-B10541490790}" type="parTrans" cxnId="{84921AD3-F4A6-D641-B9BB-C03AD367006D}">
      <dgm:prSet/>
      <dgm:spPr/>
      <dgm:t>
        <a:bodyPr/>
        <a:lstStyle/>
        <a:p>
          <a:endParaRPr lang="en-CA"/>
        </a:p>
      </dgm:t>
    </dgm:pt>
    <dgm:pt modelId="{5F875547-B571-3A4A-BE88-FB380EB6FEEC}" type="sibTrans" cxnId="{84921AD3-F4A6-D641-B9BB-C03AD367006D}">
      <dgm:prSet/>
      <dgm:spPr/>
      <dgm:t>
        <a:bodyPr/>
        <a:lstStyle/>
        <a:p>
          <a:endParaRPr lang="en-CA"/>
        </a:p>
      </dgm:t>
    </dgm:pt>
    <dgm:pt modelId="{89501325-8870-C54F-B6B5-A885FD16BBEF}">
      <dgm:prSet/>
      <dgm:spPr/>
      <dgm:t>
        <a:bodyPr/>
        <a:lstStyle/>
        <a:p>
          <a:r>
            <a:rPr lang="en-US" dirty="0"/>
            <a:t>Characteristics of a tax system</a:t>
          </a:r>
        </a:p>
      </dgm:t>
    </dgm:pt>
    <dgm:pt modelId="{93D6E320-AF8D-9340-BB75-B7591E0E03DC}" type="parTrans" cxnId="{DE75D935-B678-5F4C-B8DB-EE63DF853A19}">
      <dgm:prSet/>
      <dgm:spPr/>
      <dgm:t>
        <a:bodyPr/>
        <a:lstStyle/>
        <a:p>
          <a:endParaRPr lang="en-CA"/>
        </a:p>
      </dgm:t>
    </dgm:pt>
    <dgm:pt modelId="{56AA197C-3F9A-AC48-AF8D-D1B67C44781F}" type="sibTrans" cxnId="{DE75D935-B678-5F4C-B8DB-EE63DF853A19}">
      <dgm:prSet/>
      <dgm:spPr/>
      <dgm:t>
        <a:bodyPr/>
        <a:lstStyle/>
        <a:p>
          <a:endParaRPr lang="en-CA"/>
        </a:p>
      </dgm:t>
    </dgm:pt>
    <dgm:pt modelId="{4C6F2BAD-7A69-D543-AB3E-F4F553B71C20}" type="pres">
      <dgm:prSet presAssocID="{7BC2DB20-EFFD-4E7B-93C1-553BACDC4218}" presName="vert0" presStyleCnt="0">
        <dgm:presLayoutVars>
          <dgm:dir/>
          <dgm:animOne val="branch"/>
          <dgm:animLvl val="lvl"/>
        </dgm:presLayoutVars>
      </dgm:prSet>
      <dgm:spPr/>
    </dgm:pt>
    <dgm:pt modelId="{F10E97F2-97AC-6F4D-B7BC-31712784AF3D}" type="pres">
      <dgm:prSet presAssocID="{5CB291CD-C87A-4E73-A31F-A5E8DC48EC04}" presName="thickLine" presStyleLbl="alignNode1" presStyleIdx="0" presStyleCnt="3"/>
      <dgm:spPr/>
    </dgm:pt>
    <dgm:pt modelId="{A4064D4D-9C39-064B-B3FE-FF05D3172FEA}" type="pres">
      <dgm:prSet presAssocID="{5CB291CD-C87A-4E73-A31F-A5E8DC48EC04}" presName="horz1" presStyleCnt="0"/>
      <dgm:spPr/>
    </dgm:pt>
    <dgm:pt modelId="{CAF5D1B2-BBCB-024C-AAC1-9ED629B4F963}" type="pres">
      <dgm:prSet presAssocID="{5CB291CD-C87A-4E73-A31F-A5E8DC48EC04}" presName="tx1" presStyleLbl="revTx" presStyleIdx="0" presStyleCnt="3"/>
      <dgm:spPr/>
    </dgm:pt>
    <dgm:pt modelId="{C4674BD1-57ED-9741-B778-6EB30CCB4ACE}" type="pres">
      <dgm:prSet presAssocID="{5CB291CD-C87A-4E73-A31F-A5E8DC48EC04}" presName="vert1" presStyleCnt="0"/>
      <dgm:spPr/>
    </dgm:pt>
    <dgm:pt modelId="{EC5B05C3-5E07-8247-81BA-5D88035DB418}" type="pres">
      <dgm:prSet presAssocID="{4412E678-8AFD-BC4D-BB2E-609D454463DF}" presName="thickLine" presStyleLbl="alignNode1" presStyleIdx="1" presStyleCnt="3"/>
      <dgm:spPr/>
    </dgm:pt>
    <dgm:pt modelId="{06025EF1-049F-9843-B613-E0C01D63778D}" type="pres">
      <dgm:prSet presAssocID="{4412E678-8AFD-BC4D-BB2E-609D454463DF}" presName="horz1" presStyleCnt="0"/>
      <dgm:spPr/>
    </dgm:pt>
    <dgm:pt modelId="{714847E5-C4BD-9242-9B7A-17C1C7F2FFB2}" type="pres">
      <dgm:prSet presAssocID="{4412E678-8AFD-BC4D-BB2E-609D454463DF}" presName="tx1" presStyleLbl="revTx" presStyleIdx="1" presStyleCnt="3"/>
      <dgm:spPr/>
    </dgm:pt>
    <dgm:pt modelId="{16FCFCE7-5AFE-654B-9763-08F1BC2C0B5D}" type="pres">
      <dgm:prSet presAssocID="{4412E678-8AFD-BC4D-BB2E-609D454463DF}" presName="vert1" presStyleCnt="0"/>
      <dgm:spPr/>
    </dgm:pt>
    <dgm:pt modelId="{557F266B-9E2F-7541-AF88-AA1B885EDDB5}" type="pres">
      <dgm:prSet presAssocID="{89501325-8870-C54F-B6B5-A885FD16BBEF}" presName="thickLine" presStyleLbl="alignNode1" presStyleIdx="2" presStyleCnt="3"/>
      <dgm:spPr/>
    </dgm:pt>
    <dgm:pt modelId="{9CC205FC-D5C5-8046-BACE-9D74B2BA3BB7}" type="pres">
      <dgm:prSet presAssocID="{89501325-8870-C54F-B6B5-A885FD16BBEF}" presName="horz1" presStyleCnt="0"/>
      <dgm:spPr/>
    </dgm:pt>
    <dgm:pt modelId="{25245A3E-118C-8842-AC0C-BAEC0B21F93E}" type="pres">
      <dgm:prSet presAssocID="{89501325-8870-C54F-B6B5-A885FD16BBEF}" presName="tx1" presStyleLbl="revTx" presStyleIdx="2" presStyleCnt="3"/>
      <dgm:spPr/>
    </dgm:pt>
    <dgm:pt modelId="{541A1E60-8878-D848-827D-20A4AA8B763E}" type="pres">
      <dgm:prSet presAssocID="{89501325-8870-C54F-B6B5-A885FD16BBEF}" presName="vert1" presStyleCnt="0"/>
      <dgm:spPr/>
    </dgm:pt>
  </dgm:ptLst>
  <dgm:cxnLst>
    <dgm:cxn modelId="{C8BF1404-11AF-480F-8668-46368F1D8C9B}" srcId="{7BC2DB20-EFFD-4E7B-93C1-553BACDC4218}" destId="{5CB291CD-C87A-4E73-A31F-A5E8DC48EC04}" srcOrd="0" destOrd="0" parTransId="{E99F5492-A06F-4526-99D6-3D5D0DAAB8D2}" sibTransId="{EB8001B5-1F3F-4B4C-99B7-5E44380F79E6}"/>
    <dgm:cxn modelId="{F8C72F2E-1998-CD43-BFB8-1F8EEEC5CBB3}" type="presOf" srcId="{89501325-8870-C54F-B6B5-A885FD16BBEF}" destId="{25245A3E-118C-8842-AC0C-BAEC0B21F93E}" srcOrd="0" destOrd="0" presId="urn:microsoft.com/office/officeart/2008/layout/LinedList"/>
    <dgm:cxn modelId="{DE75D935-B678-5F4C-B8DB-EE63DF853A19}" srcId="{7BC2DB20-EFFD-4E7B-93C1-553BACDC4218}" destId="{89501325-8870-C54F-B6B5-A885FD16BBEF}" srcOrd="2" destOrd="0" parTransId="{93D6E320-AF8D-9340-BB75-B7591E0E03DC}" sibTransId="{56AA197C-3F9A-AC48-AF8D-D1B67C44781F}"/>
    <dgm:cxn modelId="{57997652-28BF-4647-BAC7-CC840BF884CE}" type="presOf" srcId="{5CB291CD-C87A-4E73-A31F-A5E8DC48EC04}" destId="{CAF5D1B2-BBCB-024C-AAC1-9ED629B4F963}" srcOrd="0" destOrd="0" presId="urn:microsoft.com/office/officeart/2008/layout/LinedList"/>
    <dgm:cxn modelId="{5B0AE1C8-41A4-CB48-B30B-76AEE4A3E378}" type="presOf" srcId="{7BC2DB20-EFFD-4E7B-93C1-553BACDC4218}" destId="{4C6F2BAD-7A69-D543-AB3E-F4F553B71C20}" srcOrd="0" destOrd="0" presId="urn:microsoft.com/office/officeart/2008/layout/LinedList"/>
    <dgm:cxn modelId="{84921AD3-F4A6-D641-B9BB-C03AD367006D}" srcId="{7BC2DB20-EFFD-4E7B-93C1-553BACDC4218}" destId="{4412E678-8AFD-BC4D-BB2E-609D454463DF}" srcOrd="1" destOrd="0" parTransId="{DE67A28B-7D5F-234F-9427-B10541490790}" sibTransId="{5F875547-B571-3A4A-BE88-FB380EB6FEEC}"/>
    <dgm:cxn modelId="{666A6FED-2F26-3D48-A7B8-C69C61ECDB74}" type="presOf" srcId="{4412E678-8AFD-BC4D-BB2E-609D454463DF}" destId="{714847E5-C4BD-9242-9B7A-17C1C7F2FFB2}" srcOrd="0" destOrd="0" presId="urn:microsoft.com/office/officeart/2008/layout/LinedList"/>
    <dgm:cxn modelId="{CAF9E7AD-7F1C-DC47-B374-E08725F0E88B}" type="presParOf" srcId="{4C6F2BAD-7A69-D543-AB3E-F4F553B71C20}" destId="{F10E97F2-97AC-6F4D-B7BC-31712784AF3D}" srcOrd="0" destOrd="0" presId="urn:microsoft.com/office/officeart/2008/layout/LinedList"/>
    <dgm:cxn modelId="{3F4E393A-02E4-154A-B2B2-0B985736F706}" type="presParOf" srcId="{4C6F2BAD-7A69-D543-AB3E-F4F553B71C20}" destId="{A4064D4D-9C39-064B-B3FE-FF05D3172FEA}" srcOrd="1" destOrd="0" presId="urn:microsoft.com/office/officeart/2008/layout/LinedList"/>
    <dgm:cxn modelId="{2A65F8D5-32B9-854D-9DE7-DE374EE9C8BE}" type="presParOf" srcId="{A4064D4D-9C39-064B-B3FE-FF05D3172FEA}" destId="{CAF5D1B2-BBCB-024C-AAC1-9ED629B4F963}" srcOrd="0" destOrd="0" presId="urn:microsoft.com/office/officeart/2008/layout/LinedList"/>
    <dgm:cxn modelId="{A9823B6A-813B-E241-A4D4-AAE181363C17}" type="presParOf" srcId="{A4064D4D-9C39-064B-B3FE-FF05D3172FEA}" destId="{C4674BD1-57ED-9741-B778-6EB30CCB4ACE}" srcOrd="1" destOrd="0" presId="urn:microsoft.com/office/officeart/2008/layout/LinedList"/>
    <dgm:cxn modelId="{B2E52246-A6EC-7A45-B106-29E2FAB42C8B}" type="presParOf" srcId="{4C6F2BAD-7A69-D543-AB3E-F4F553B71C20}" destId="{EC5B05C3-5E07-8247-81BA-5D88035DB418}" srcOrd="2" destOrd="0" presId="urn:microsoft.com/office/officeart/2008/layout/LinedList"/>
    <dgm:cxn modelId="{E893C991-B377-3648-8CE4-DE88BF862045}" type="presParOf" srcId="{4C6F2BAD-7A69-D543-AB3E-F4F553B71C20}" destId="{06025EF1-049F-9843-B613-E0C01D63778D}" srcOrd="3" destOrd="0" presId="urn:microsoft.com/office/officeart/2008/layout/LinedList"/>
    <dgm:cxn modelId="{9BBD6D42-7AE0-8044-BC01-52C23902104D}" type="presParOf" srcId="{06025EF1-049F-9843-B613-E0C01D63778D}" destId="{714847E5-C4BD-9242-9B7A-17C1C7F2FFB2}" srcOrd="0" destOrd="0" presId="urn:microsoft.com/office/officeart/2008/layout/LinedList"/>
    <dgm:cxn modelId="{FF5783C8-42A5-7149-88E3-A7ACCC8DFBFB}" type="presParOf" srcId="{06025EF1-049F-9843-B613-E0C01D63778D}" destId="{16FCFCE7-5AFE-654B-9763-08F1BC2C0B5D}" srcOrd="1" destOrd="0" presId="urn:microsoft.com/office/officeart/2008/layout/LinedList"/>
    <dgm:cxn modelId="{11D39495-15D1-994D-9A48-702810396030}" type="presParOf" srcId="{4C6F2BAD-7A69-D543-AB3E-F4F553B71C20}" destId="{557F266B-9E2F-7541-AF88-AA1B885EDDB5}" srcOrd="4" destOrd="0" presId="urn:microsoft.com/office/officeart/2008/layout/LinedList"/>
    <dgm:cxn modelId="{ADA21A83-4407-8F43-8A7C-8FDA96EC4ADC}" type="presParOf" srcId="{4C6F2BAD-7A69-D543-AB3E-F4F553B71C20}" destId="{9CC205FC-D5C5-8046-BACE-9D74B2BA3BB7}" srcOrd="5" destOrd="0" presId="urn:microsoft.com/office/officeart/2008/layout/LinedList"/>
    <dgm:cxn modelId="{12566476-96E9-884F-80AB-2053B07D24C1}" type="presParOf" srcId="{9CC205FC-D5C5-8046-BACE-9D74B2BA3BB7}" destId="{25245A3E-118C-8842-AC0C-BAEC0B21F93E}" srcOrd="0" destOrd="0" presId="urn:microsoft.com/office/officeart/2008/layout/LinedList"/>
    <dgm:cxn modelId="{17044022-9EE4-DC43-95C3-D87065F75B5C}" type="presParOf" srcId="{9CC205FC-D5C5-8046-BACE-9D74B2BA3BB7}" destId="{541A1E60-8878-D848-827D-20A4AA8B763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142AD0C-86FA-B243-B166-26D8FB110D32}" type="doc">
      <dgm:prSet loTypeId="urn:microsoft.com/office/officeart/2008/layout/LinedList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652C4442-2266-2C43-8A1D-A9CE87C79752}">
      <dgm:prSet/>
      <dgm:spPr/>
      <dgm:t>
        <a:bodyPr/>
        <a:lstStyle/>
        <a:p>
          <a:pPr rtl="0"/>
          <a:r>
            <a:rPr lang="en-CA" dirty="0"/>
            <a:t>1916</a:t>
          </a:r>
        </a:p>
      </dgm:t>
    </dgm:pt>
    <dgm:pt modelId="{9CF2BC7E-153B-304A-89B7-CC440CF2F1E1}" type="parTrans" cxnId="{5AE55BA0-5D10-854A-8DAA-0E8AF2827D31}">
      <dgm:prSet/>
      <dgm:spPr/>
      <dgm:t>
        <a:bodyPr/>
        <a:lstStyle/>
        <a:p>
          <a:endParaRPr lang="en-CA"/>
        </a:p>
      </dgm:t>
    </dgm:pt>
    <dgm:pt modelId="{6DC0F59B-EC31-FC4F-95F4-C2A0F5A40FDD}" type="sibTrans" cxnId="{5AE55BA0-5D10-854A-8DAA-0E8AF2827D31}">
      <dgm:prSet/>
      <dgm:spPr/>
      <dgm:t>
        <a:bodyPr/>
        <a:lstStyle/>
        <a:p>
          <a:endParaRPr lang="en-CA"/>
        </a:p>
      </dgm:t>
    </dgm:pt>
    <dgm:pt modelId="{6E4ECD29-EFAD-EC4D-8938-C72DA28DDF27}">
      <dgm:prSet custT="1"/>
      <dgm:spPr/>
      <dgm:t>
        <a:bodyPr/>
        <a:lstStyle/>
        <a:p>
          <a:pPr rtl="0"/>
          <a:r>
            <a:rPr lang="en-CA" sz="2400" dirty="0"/>
            <a:t>Business Profit War Tax</a:t>
          </a:r>
        </a:p>
      </dgm:t>
    </dgm:pt>
    <dgm:pt modelId="{0D3B8128-FA1B-EC4D-B1B4-AACA99E1DAC7}" type="parTrans" cxnId="{BE5C8B75-B14C-F041-867F-555CF6A080C1}">
      <dgm:prSet/>
      <dgm:spPr/>
      <dgm:t>
        <a:bodyPr/>
        <a:lstStyle/>
        <a:p>
          <a:endParaRPr lang="en-CA"/>
        </a:p>
      </dgm:t>
    </dgm:pt>
    <dgm:pt modelId="{9C0999B2-6D35-FE45-86B9-B460F8CB0DE7}" type="sibTrans" cxnId="{BE5C8B75-B14C-F041-867F-555CF6A080C1}">
      <dgm:prSet/>
      <dgm:spPr/>
      <dgm:t>
        <a:bodyPr/>
        <a:lstStyle/>
        <a:p>
          <a:endParaRPr lang="en-CA"/>
        </a:p>
      </dgm:t>
    </dgm:pt>
    <dgm:pt modelId="{5B6DCCBF-A58E-B649-95E0-C52A8E0FABC4}">
      <dgm:prSet/>
      <dgm:spPr/>
      <dgm:t>
        <a:bodyPr/>
        <a:lstStyle/>
        <a:p>
          <a:pPr rtl="0"/>
          <a:r>
            <a:rPr lang="en-CA" dirty="0"/>
            <a:t>1917</a:t>
          </a:r>
        </a:p>
      </dgm:t>
    </dgm:pt>
    <dgm:pt modelId="{7D8B9327-367A-1443-917D-C5E6845C600C}" type="parTrans" cxnId="{7B4D87BB-F6DB-AD41-8D20-C65AB794C3E8}">
      <dgm:prSet/>
      <dgm:spPr/>
      <dgm:t>
        <a:bodyPr/>
        <a:lstStyle/>
        <a:p>
          <a:endParaRPr lang="en-CA"/>
        </a:p>
      </dgm:t>
    </dgm:pt>
    <dgm:pt modelId="{624253A8-0B7C-F148-A1E8-6BDB3B0CFDCC}" type="sibTrans" cxnId="{7B4D87BB-F6DB-AD41-8D20-C65AB794C3E8}">
      <dgm:prSet/>
      <dgm:spPr/>
      <dgm:t>
        <a:bodyPr/>
        <a:lstStyle/>
        <a:p>
          <a:endParaRPr lang="en-CA"/>
        </a:p>
      </dgm:t>
    </dgm:pt>
    <dgm:pt modelId="{8F12B645-8015-1948-9081-00753FAC29ED}">
      <dgm:prSet custT="1"/>
      <dgm:spPr/>
      <dgm:t>
        <a:bodyPr/>
        <a:lstStyle/>
        <a:p>
          <a:r>
            <a:rPr lang="en-CA" sz="2400" dirty="0"/>
            <a:t>Income War Tax Act</a:t>
          </a:r>
        </a:p>
      </dgm:t>
    </dgm:pt>
    <dgm:pt modelId="{C0227A97-6F9D-504F-B990-3D1BF1AEB03C}" type="parTrans" cxnId="{7156F4E8-7EAE-6444-B3A7-69A75B7E8C51}">
      <dgm:prSet/>
      <dgm:spPr/>
      <dgm:t>
        <a:bodyPr/>
        <a:lstStyle/>
        <a:p>
          <a:endParaRPr lang="en-CA"/>
        </a:p>
      </dgm:t>
    </dgm:pt>
    <dgm:pt modelId="{131C8DA3-97F3-0C44-B0F6-ADEE67DE7780}" type="sibTrans" cxnId="{7156F4E8-7EAE-6444-B3A7-69A75B7E8C51}">
      <dgm:prSet/>
      <dgm:spPr/>
      <dgm:t>
        <a:bodyPr/>
        <a:lstStyle/>
        <a:p>
          <a:endParaRPr lang="en-CA"/>
        </a:p>
      </dgm:t>
    </dgm:pt>
    <dgm:pt modelId="{EBFF5571-CA4E-784D-8C9D-E467B09F5F0B}">
      <dgm:prSet/>
      <dgm:spPr/>
      <dgm:t>
        <a:bodyPr/>
        <a:lstStyle/>
        <a:p>
          <a:pPr rtl="0"/>
          <a:r>
            <a:rPr lang="en-CA" dirty="0"/>
            <a:t>1927</a:t>
          </a:r>
        </a:p>
      </dgm:t>
    </dgm:pt>
    <dgm:pt modelId="{542AF013-664C-A942-BEFC-BDD6823204E0}" type="parTrans" cxnId="{01A7B558-648F-5D4F-8FBA-184EACC44F9A}">
      <dgm:prSet/>
      <dgm:spPr/>
      <dgm:t>
        <a:bodyPr/>
        <a:lstStyle/>
        <a:p>
          <a:endParaRPr lang="en-CA"/>
        </a:p>
      </dgm:t>
    </dgm:pt>
    <dgm:pt modelId="{82197CEE-E4D4-9F43-8818-D0C50D32ECAC}" type="sibTrans" cxnId="{01A7B558-648F-5D4F-8FBA-184EACC44F9A}">
      <dgm:prSet/>
      <dgm:spPr/>
      <dgm:t>
        <a:bodyPr/>
        <a:lstStyle/>
        <a:p>
          <a:endParaRPr lang="en-CA"/>
        </a:p>
      </dgm:t>
    </dgm:pt>
    <dgm:pt modelId="{654AC7E6-7316-CB42-848C-A3D5668C3BFC}">
      <dgm:prSet custT="1"/>
      <dgm:spPr/>
      <dgm:t>
        <a:bodyPr/>
        <a:lstStyle/>
        <a:p>
          <a:r>
            <a:rPr lang="en-CA" sz="2400" dirty="0"/>
            <a:t>Department of Revenue</a:t>
          </a:r>
        </a:p>
      </dgm:t>
    </dgm:pt>
    <dgm:pt modelId="{CE327E88-D9C0-F744-85BA-CDBDCAA87470}" type="parTrans" cxnId="{4AD41C4C-C2CC-C244-99B1-AAF53D572BF9}">
      <dgm:prSet/>
      <dgm:spPr/>
      <dgm:t>
        <a:bodyPr/>
        <a:lstStyle/>
        <a:p>
          <a:endParaRPr lang="en-CA"/>
        </a:p>
      </dgm:t>
    </dgm:pt>
    <dgm:pt modelId="{454FCA73-BC47-DE44-A98F-43A8BF5AF0B1}" type="sibTrans" cxnId="{4AD41C4C-C2CC-C244-99B1-AAF53D572BF9}">
      <dgm:prSet/>
      <dgm:spPr/>
      <dgm:t>
        <a:bodyPr/>
        <a:lstStyle/>
        <a:p>
          <a:endParaRPr lang="en-CA"/>
        </a:p>
      </dgm:t>
    </dgm:pt>
    <dgm:pt modelId="{9F44A67A-1F53-684B-9654-C4EF6E67D8D2}">
      <dgm:prSet/>
      <dgm:spPr/>
      <dgm:t>
        <a:bodyPr/>
        <a:lstStyle/>
        <a:p>
          <a:pPr rtl="0"/>
          <a:r>
            <a:rPr lang="en-CA" dirty="0"/>
            <a:t>1952</a:t>
          </a:r>
        </a:p>
      </dgm:t>
    </dgm:pt>
    <dgm:pt modelId="{79A2D3CE-0390-384E-A1CB-166B539BFA51}" type="parTrans" cxnId="{C91D3C04-6CF1-5F4E-92EB-FD3F3513F4ED}">
      <dgm:prSet/>
      <dgm:spPr/>
      <dgm:t>
        <a:bodyPr/>
        <a:lstStyle/>
        <a:p>
          <a:endParaRPr lang="en-CA"/>
        </a:p>
      </dgm:t>
    </dgm:pt>
    <dgm:pt modelId="{4BE74216-580F-C944-8B31-5CBD89A1F062}" type="sibTrans" cxnId="{C91D3C04-6CF1-5F4E-92EB-FD3F3513F4ED}">
      <dgm:prSet/>
      <dgm:spPr/>
      <dgm:t>
        <a:bodyPr/>
        <a:lstStyle/>
        <a:p>
          <a:endParaRPr lang="en-CA"/>
        </a:p>
      </dgm:t>
    </dgm:pt>
    <dgm:pt modelId="{7F438C84-930E-8248-BDFD-B1199B3555A2}">
      <dgm:prSet custT="1"/>
      <dgm:spPr/>
      <dgm:t>
        <a:bodyPr/>
        <a:lstStyle/>
        <a:p>
          <a:r>
            <a:rPr lang="en-CA" sz="2400" dirty="0"/>
            <a:t>Old Age Security Act</a:t>
          </a:r>
        </a:p>
      </dgm:t>
    </dgm:pt>
    <dgm:pt modelId="{8B9FB36C-05E3-5147-BD61-E6CFB755C7B3}" type="parTrans" cxnId="{D158DF07-E2FF-9848-9CD7-AAE63B28C595}">
      <dgm:prSet/>
      <dgm:spPr/>
      <dgm:t>
        <a:bodyPr/>
        <a:lstStyle/>
        <a:p>
          <a:endParaRPr lang="en-CA"/>
        </a:p>
      </dgm:t>
    </dgm:pt>
    <dgm:pt modelId="{58B78B8F-860C-F64E-9160-10F5900BBD07}" type="sibTrans" cxnId="{D158DF07-E2FF-9848-9CD7-AAE63B28C595}">
      <dgm:prSet/>
      <dgm:spPr/>
      <dgm:t>
        <a:bodyPr/>
        <a:lstStyle/>
        <a:p>
          <a:endParaRPr lang="en-CA"/>
        </a:p>
      </dgm:t>
    </dgm:pt>
    <dgm:pt modelId="{9D592A1A-E2DB-D742-A642-67BE35B0094B}">
      <dgm:prSet/>
      <dgm:spPr/>
      <dgm:t>
        <a:bodyPr/>
        <a:lstStyle/>
        <a:p>
          <a:r>
            <a:rPr lang="en-CA" dirty="0"/>
            <a:t>1991</a:t>
          </a:r>
        </a:p>
      </dgm:t>
    </dgm:pt>
    <dgm:pt modelId="{CE40508A-FFBC-9C48-95E2-F7E1E6BE878E}" type="parTrans" cxnId="{6482D508-0DE5-2748-A86F-8AB029078203}">
      <dgm:prSet/>
      <dgm:spPr/>
      <dgm:t>
        <a:bodyPr/>
        <a:lstStyle/>
        <a:p>
          <a:endParaRPr lang="en-CA"/>
        </a:p>
      </dgm:t>
    </dgm:pt>
    <dgm:pt modelId="{E17A9CF2-B6E4-0C48-9D35-1B57D04AFD6A}" type="sibTrans" cxnId="{6482D508-0DE5-2748-A86F-8AB029078203}">
      <dgm:prSet/>
      <dgm:spPr/>
      <dgm:t>
        <a:bodyPr/>
        <a:lstStyle/>
        <a:p>
          <a:endParaRPr lang="en-CA"/>
        </a:p>
      </dgm:t>
    </dgm:pt>
    <dgm:pt modelId="{3DFA88A9-64B3-D148-BA42-B57F3F9AE111}">
      <dgm:prSet custT="1"/>
      <dgm:spPr/>
      <dgm:t>
        <a:bodyPr/>
        <a:lstStyle/>
        <a:p>
          <a:r>
            <a:rPr lang="en-CA" sz="2400" dirty="0"/>
            <a:t>GST </a:t>
          </a:r>
          <a:endParaRPr lang="en-CA" sz="3100" dirty="0"/>
        </a:p>
      </dgm:t>
    </dgm:pt>
    <dgm:pt modelId="{993A1D7F-3CD5-184E-9B17-E86D49EF06BB}" type="parTrans" cxnId="{44104B5C-AF0B-7741-8F8E-F64DDFEF8C52}">
      <dgm:prSet/>
      <dgm:spPr/>
      <dgm:t>
        <a:bodyPr/>
        <a:lstStyle/>
        <a:p>
          <a:endParaRPr lang="en-CA"/>
        </a:p>
      </dgm:t>
    </dgm:pt>
    <dgm:pt modelId="{B96DE17A-3FF9-A142-B95C-789296A430B3}" type="sibTrans" cxnId="{44104B5C-AF0B-7741-8F8E-F64DDFEF8C52}">
      <dgm:prSet/>
      <dgm:spPr/>
      <dgm:t>
        <a:bodyPr/>
        <a:lstStyle/>
        <a:p>
          <a:endParaRPr lang="en-CA"/>
        </a:p>
      </dgm:t>
    </dgm:pt>
    <dgm:pt modelId="{8017B577-04A9-EF42-9324-335EE7C44612}">
      <dgm:prSet/>
      <dgm:spPr/>
      <dgm:t>
        <a:bodyPr/>
        <a:lstStyle/>
        <a:p>
          <a:r>
            <a:rPr lang="en-CA" dirty="0"/>
            <a:t>2007</a:t>
          </a:r>
        </a:p>
      </dgm:t>
    </dgm:pt>
    <dgm:pt modelId="{30203EB1-ECCF-FD4A-8F4C-03FEC4D83F5C}" type="parTrans" cxnId="{F6F8BA9A-07CB-FF44-879E-0D8460D97BCF}">
      <dgm:prSet/>
      <dgm:spPr/>
      <dgm:t>
        <a:bodyPr/>
        <a:lstStyle/>
        <a:p>
          <a:endParaRPr lang="en-CA"/>
        </a:p>
      </dgm:t>
    </dgm:pt>
    <dgm:pt modelId="{006A3E87-AA61-A744-AF6A-63D744D6EDDB}" type="sibTrans" cxnId="{F6F8BA9A-07CB-FF44-879E-0D8460D97BCF}">
      <dgm:prSet/>
      <dgm:spPr/>
      <dgm:t>
        <a:bodyPr/>
        <a:lstStyle/>
        <a:p>
          <a:endParaRPr lang="en-CA"/>
        </a:p>
      </dgm:t>
    </dgm:pt>
    <dgm:pt modelId="{25B48A5A-0C2D-A94E-B9BA-B23EE8D9BF3C}">
      <dgm:prSet custT="1"/>
      <dgm:spPr/>
      <dgm:t>
        <a:bodyPr/>
        <a:lstStyle/>
        <a:p>
          <a:r>
            <a:rPr lang="en-CA" sz="2400" dirty="0"/>
            <a:t>Taxpayer Bill of Rights</a:t>
          </a:r>
        </a:p>
      </dgm:t>
    </dgm:pt>
    <dgm:pt modelId="{F8041C04-CCB8-AC4D-85ED-D9F4659FA4A6}" type="parTrans" cxnId="{DDC0C4D8-8C10-484B-A397-8B1FBE288F95}">
      <dgm:prSet/>
      <dgm:spPr/>
      <dgm:t>
        <a:bodyPr/>
        <a:lstStyle/>
        <a:p>
          <a:endParaRPr lang="en-CA"/>
        </a:p>
      </dgm:t>
    </dgm:pt>
    <dgm:pt modelId="{AEE86248-7A57-3A4A-B2D7-C4C92F46295E}" type="sibTrans" cxnId="{DDC0C4D8-8C10-484B-A397-8B1FBE288F95}">
      <dgm:prSet/>
      <dgm:spPr/>
      <dgm:t>
        <a:bodyPr/>
        <a:lstStyle/>
        <a:p>
          <a:endParaRPr lang="en-CA"/>
        </a:p>
      </dgm:t>
    </dgm:pt>
    <dgm:pt modelId="{065E06A6-93BF-D341-BA73-F1789C949E53}" type="pres">
      <dgm:prSet presAssocID="{8142AD0C-86FA-B243-B166-26D8FB110D32}" presName="vert0" presStyleCnt="0">
        <dgm:presLayoutVars>
          <dgm:dir/>
          <dgm:animOne val="branch"/>
          <dgm:animLvl val="lvl"/>
        </dgm:presLayoutVars>
      </dgm:prSet>
      <dgm:spPr/>
    </dgm:pt>
    <dgm:pt modelId="{9E1B6612-BCCE-B042-9A6C-F65712631A83}" type="pres">
      <dgm:prSet presAssocID="{652C4442-2266-2C43-8A1D-A9CE87C79752}" presName="thickLine" presStyleLbl="alignNode1" presStyleIdx="0" presStyleCnt="6"/>
      <dgm:spPr/>
    </dgm:pt>
    <dgm:pt modelId="{898555A4-57E6-964D-AB19-EBDE77B2464C}" type="pres">
      <dgm:prSet presAssocID="{652C4442-2266-2C43-8A1D-A9CE87C79752}" presName="horz1" presStyleCnt="0"/>
      <dgm:spPr/>
    </dgm:pt>
    <dgm:pt modelId="{AFA5C870-F99C-FF49-BFB5-B6DC764C0F74}" type="pres">
      <dgm:prSet presAssocID="{652C4442-2266-2C43-8A1D-A9CE87C79752}" presName="tx1" presStyleLbl="revTx" presStyleIdx="0" presStyleCnt="12"/>
      <dgm:spPr/>
    </dgm:pt>
    <dgm:pt modelId="{7B09925F-DE50-3C40-B3C4-5EF427AB28AF}" type="pres">
      <dgm:prSet presAssocID="{652C4442-2266-2C43-8A1D-A9CE87C79752}" presName="vert1" presStyleCnt="0"/>
      <dgm:spPr/>
    </dgm:pt>
    <dgm:pt modelId="{C4E9A03F-2C55-EB40-A3CC-60F10BD323C6}" type="pres">
      <dgm:prSet presAssocID="{6E4ECD29-EFAD-EC4D-8938-C72DA28DDF27}" presName="vertSpace2a" presStyleCnt="0"/>
      <dgm:spPr/>
    </dgm:pt>
    <dgm:pt modelId="{22F4DE05-ACC8-E348-B565-7414F227D598}" type="pres">
      <dgm:prSet presAssocID="{6E4ECD29-EFAD-EC4D-8938-C72DA28DDF27}" presName="horz2" presStyleCnt="0"/>
      <dgm:spPr/>
    </dgm:pt>
    <dgm:pt modelId="{F09233B1-3EC0-A34E-897E-00B01BA3411C}" type="pres">
      <dgm:prSet presAssocID="{6E4ECD29-EFAD-EC4D-8938-C72DA28DDF27}" presName="horzSpace2" presStyleCnt="0"/>
      <dgm:spPr/>
    </dgm:pt>
    <dgm:pt modelId="{4D454942-FCED-3F4E-92A1-F3B9F2A58AF1}" type="pres">
      <dgm:prSet presAssocID="{6E4ECD29-EFAD-EC4D-8938-C72DA28DDF27}" presName="tx2" presStyleLbl="revTx" presStyleIdx="1" presStyleCnt="12"/>
      <dgm:spPr/>
    </dgm:pt>
    <dgm:pt modelId="{7CF2C85C-A8DC-9D4E-A148-4248A9FBD197}" type="pres">
      <dgm:prSet presAssocID="{6E4ECD29-EFAD-EC4D-8938-C72DA28DDF27}" presName="vert2" presStyleCnt="0"/>
      <dgm:spPr/>
    </dgm:pt>
    <dgm:pt modelId="{62A39CC5-439A-6C49-8C57-7C9E06B16FD0}" type="pres">
      <dgm:prSet presAssocID="{6E4ECD29-EFAD-EC4D-8938-C72DA28DDF27}" presName="thinLine2b" presStyleLbl="callout" presStyleIdx="0" presStyleCnt="6"/>
      <dgm:spPr/>
    </dgm:pt>
    <dgm:pt modelId="{B52FE149-8E1F-2C46-A147-555E8048AB52}" type="pres">
      <dgm:prSet presAssocID="{6E4ECD29-EFAD-EC4D-8938-C72DA28DDF27}" presName="vertSpace2b" presStyleCnt="0"/>
      <dgm:spPr/>
    </dgm:pt>
    <dgm:pt modelId="{D3988298-E2EE-6942-83C6-A249A0BFFB10}" type="pres">
      <dgm:prSet presAssocID="{5B6DCCBF-A58E-B649-95E0-C52A8E0FABC4}" presName="thickLine" presStyleLbl="alignNode1" presStyleIdx="1" presStyleCnt="6"/>
      <dgm:spPr/>
    </dgm:pt>
    <dgm:pt modelId="{38EC2229-E751-DC4A-AD9B-BAE9E95398AB}" type="pres">
      <dgm:prSet presAssocID="{5B6DCCBF-A58E-B649-95E0-C52A8E0FABC4}" presName="horz1" presStyleCnt="0"/>
      <dgm:spPr/>
    </dgm:pt>
    <dgm:pt modelId="{A07A9B04-B35D-A045-9E6A-B5E7F04BC29A}" type="pres">
      <dgm:prSet presAssocID="{5B6DCCBF-A58E-B649-95E0-C52A8E0FABC4}" presName="tx1" presStyleLbl="revTx" presStyleIdx="2" presStyleCnt="12"/>
      <dgm:spPr/>
    </dgm:pt>
    <dgm:pt modelId="{A1BE0C18-32F4-204C-826A-903C418371AB}" type="pres">
      <dgm:prSet presAssocID="{5B6DCCBF-A58E-B649-95E0-C52A8E0FABC4}" presName="vert1" presStyleCnt="0"/>
      <dgm:spPr/>
    </dgm:pt>
    <dgm:pt modelId="{152144D3-723E-C446-8241-7FA3A6B7ABC5}" type="pres">
      <dgm:prSet presAssocID="{8F12B645-8015-1948-9081-00753FAC29ED}" presName="vertSpace2a" presStyleCnt="0"/>
      <dgm:spPr/>
    </dgm:pt>
    <dgm:pt modelId="{741BF819-ABE5-9444-88A4-542A54E44695}" type="pres">
      <dgm:prSet presAssocID="{8F12B645-8015-1948-9081-00753FAC29ED}" presName="horz2" presStyleCnt="0"/>
      <dgm:spPr/>
    </dgm:pt>
    <dgm:pt modelId="{6C2C67A3-7499-8E48-9E97-C3E97EE30DD2}" type="pres">
      <dgm:prSet presAssocID="{8F12B645-8015-1948-9081-00753FAC29ED}" presName="horzSpace2" presStyleCnt="0"/>
      <dgm:spPr/>
    </dgm:pt>
    <dgm:pt modelId="{247EF0BE-5FA4-2B4A-BC36-20AD5F3C7955}" type="pres">
      <dgm:prSet presAssocID="{8F12B645-8015-1948-9081-00753FAC29ED}" presName="tx2" presStyleLbl="revTx" presStyleIdx="3" presStyleCnt="12"/>
      <dgm:spPr/>
    </dgm:pt>
    <dgm:pt modelId="{1FF1B941-1344-B34D-BD9C-A2621DA23D6E}" type="pres">
      <dgm:prSet presAssocID="{8F12B645-8015-1948-9081-00753FAC29ED}" presName="vert2" presStyleCnt="0"/>
      <dgm:spPr/>
    </dgm:pt>
    <dgm:pt modelId="{76205FD9-7E14-314B-A0D8-969462E4A01E}" type="pres">
      <dgm:prSet presAssocID="{8F12B645-8015-1948-9081-00753FAC29ED}" presName="thinLine2b" presStyleLbl="callout" presStyleIdx="1" presStyleCnt="6"/>
      <dgm:spPr/>
    </dgm:pt>
    <dgm:pt modelId="{81DC6D2B-294C-1D48-8122-1FECC18E0FE1}" type="pres">
      <dgm:prSet presAssocID="{8F12B645-8015-1948-9081-00753FAC29ED}" presName="vertSpace2b" presStyleCnt="0"/>
      <dgm:spPr/>
    </dgm:pt>
    <dgm:pt modelId="{D1754501-C96A-7744-9EEC-16C0F1E7EADA}" type="pres">
      <dgm:prSet presAssocID="{EBFF5571-CA4E-784D-8C9D-E467B09F5F0B}" presName="thickLine" presStyleLbl="alignNode1" presStyleIdx="2" presStyleCnt="6"/>
      <dgm:spPr/>
    </dgm:pt>
    <dgm:pt modelId="{09F9AD76-E56C-3E42-AA90-0CED739C7264}" type="pres">
      <dgm:prSet presAssocID="{EBFF5571-CA4E-784D-8C9D-E467B09F5F0B}" presName="horz1" presStyleCnt="0"/>
      <dgm:spPr/>
    </dgm:pt>
    <dgm:pt modelId="{98D61255-211B-3F4B-9909-DB4307E7C6F2}" type="pres">
      <dgm:prSet presAssocID="{EBFF5571-CA4E-784D-8C9D-E467B09F5F0B}" presName="tx1" presStyleLbl="revTx" presStyleIdx="4" presStyleCnt="12"/>
      <dgm:spPr/>
    </dgm:pt>
    <dgm:pt modelId="{7888183B-D36B-5647-BE56-087CDEA0B068}" type="pres">
      <dgm:prSet presAssocID="{EBFF5571-CA4E-784D-8C9D-E467B09F5F0B}" presName="vert1" presStyleCnt="0"/>
      <dgm:spPr/>
    </dgm:pt>
    <dgm:pt modelId="{4DB2906D-0111-D048-AD21-FC2147C246CB}" type="pres">
      <dgm:prSet presAssocID="{654AC7E6-7316-CB42-848C-A3D5668C3BFC}" presName="vertSpace2a" presStyleCnt="0"/>
      <dgm:spPr/>
    </dgm:pt>
    <dgm:pt modelId="{F9BBE756-5D9B-104B-89B0-4C42B2537753}" type="pres">
      <dgm:prSet presAssocID="{654AC7E6-7316-CB42-848C-A3D5668C3BFC}" presName="horz2" presStyleCnt="0"/>
      <dgm:spPr/>
    </dgm:pt>
    <dgm:pt modelId="{6F17E7FB-6C45-F54E-B63E-7F2E91A13A1E}" type="pres">
      <dgm:prSet presAssocID="{654AC7E6-7316-CB42-848C-A3D5668C3BFC}" presName="horzSpace2" presStyleCnt="0"/>
      <dgm:spPr/>
    </dgm:pt>
    <dgm:pt modelId="{BA4F120F-58E4-2C40-A33C-FC4E2D8B97BD}" type="pres">
      <dgm:prSet presAssocID="{654AC7E6-7316-CB42-848C-A3D5668C3BFC}" presName="tx2" presStyleLbl="revTx" presStyleIdx="5" presStyleCnt="12"/>
      <dgm:spPr/>
    </dgm:pt>
    <dgm:pt modelId="{F991A579-64C0-CD49-BBE3-0534ABD3843A}" type="pres">
      <dgm:prSet presAssocID="{654AC7E6-7316-CB42-848C-A3D5668C3BFC}" presName="vert2" presStyleCnt="0"/>
      <dgm:spPr/>
    </dgm:pt>
    <dgm:pt modelId="{261FFBB8-A936-D646-84B2-6A14CE0CA075}" type="pres">
      <dgm:prSet presAssocID="{654AC7E6-7316-CB42-848C-A3D5668C3BFC}" presName="thinLine2b" presStyleLbl="callout" presStyleIdx="2" presStyleCnt="6"/>
      <dgm:spPr/>
    </dgm:pt>
    <dgm:pt modelId="{DCDABA1A-6F8B-F041-A13F-5470C5605C39}" type="pres">
      <dgm:prSet presAssocID="{654AC7E6-7316-CB42-848C-A3D5668C3BFC}" presName="vertSpace2b" presStyleCnt="0"/>
      <dgm:spPr/>
    </dgm:pt>
    <dgm:pt modelId="{65118120-6F3F-3D4A-97C0-1D8F62DB44F2}" type="pres">
      <dgm:prSet presAssocID="{9F44A67A-1F53-684B-9654-C4EF6E67D8D2}" presName="thickLine" presStyleLbl="alignNode1" presStyleIdx="3" presStyleCnt="6"/>
      <dgm:spPr/>
    </dgm:pt>
    <dgm:pt modelId="{4D357140-42AA-1B44-80CD-8B57EF9B234C}" type="pres">
      <dgm:prSet presAssocID="{9F44A67A-1F53-684B-9654-C4EF6E67D8D2}" presName="horz1" presStyleCnt="0"/>
      <dgm:spPr/>
    </dgm:pt>
    <dgm:pt modelId="{548E9197-CFFB-A045-933C-C635EF025E6F}" type="pres">
      <dgm:prSet presAssocID="{9F44A67A-1F53-684B-9654-C4EF6E67D8D2}" presName="tx1" presStyleLbl="revTx" presStyleIdx="6" presStyleCnt="12"/>
      <dgm:spPr/>
    </dgm:pt>
    <dgm:pt modelId="{C1D4ED14-9092-C14E-B35B-C287AAAE9377}" type="pres">
      <dgm:prSet presAssocID="{9F44A67A-1F53-684B-9654-C4EF6E67D8D2}" presName="vert1" presStyleCnt="0"/>
      <dgm:spPr/>
    </dgm:pt>
    <dgm:pt modelId="{175972DF-4BA5-2E46-8D95-648F47CAC049}" type="pres">
      <dgm:prSet presAssocID="{7F438C84-930E-8248-BDFD-B1199B3555A2}" presName="vertSpace2a" presStyleCnt="0"/>
      <dgm:spPr/>
    </dgm:pt>
    <dgm:pt modelId="{B4B0D304-1C4A-FB49-8167-91E22A897C0B}" type="pres">
      <dgm:prSet presAssocID="{7F438C84-930E-8248-BDFD-B1199B3555A2}" presName="horz2" presStyleCnt="0"/>
      <dgm:spPr/>
    </dgm:pt>
    <dgm:pt modelId="{1B59BC33-0979-6A46-81AD-AC80F7AACCE4}" type="pres">
      <dgm:prSet presAssocID="{7F438C84-930E-8248-BDFD-B1199B3555A2}" presName="horzSpace2" presStyleCnt="0"/>
      <dgm:spPr/>
    </dgm:pt>
    <dgm:pt modelId="{90EB9402-5F02-064A-BE19-E30410CB602D}" type="pres">
      <dgm:prSet presAssocID="{7F438C84-930E-8248-BDFD-B1199B3555A2}" presName="tx2" presStyleLbl="revTx" presStyleIdx="7" presStyleCnt="12"/>
      <dgm:spPr/>
    </dgm:pt>
    <dgm:pt modelId="{2405CAEC-8C36-8F46-96BC-956E0B78494C}" type="pres">
      <dgm:prSet presAssocID="{7F438C84-930E-8248-BDFD-B1199B3555A2}" presName="vert2" presStyleCnt="0"/>
      <dgm:spPr/>
    </dgm:pt>
    <dgm:pt modelId="{9AED8BF8-9039-4B47-9E51-5BF380292C80}" type="pres">
      <dgm:prSet presAssocID="{7F438C84-930E-8248-BDFD-B1199B3555A2}" presName="thinLine2b" presStyleLbl="callout" presStyleIdx="3" presStyleCnt="6"/>
      <dgm:spPr/>
    </dgm:pt>
    <dgm:pt modelId="{A2DCFBAB-5305-0F46-A3F1-4BCB5216B4E7}" type="pres">
      <dgm:prSet presAssocID="{7F438C84-930E-8248-BDFD-B1199B3555A2}" presName="vertSpace2b" presStyleCnt="0"/>
      <dgm:spPr/>
    </dgm:pt>
    <dgm:pt modelId="{452DF79A-87EC-C64B-AFCB-44150B99A339}" type="pres">
      <dgm:prSet presAssocID="{9D592A1A-E2DB-D742-A642-67BE35B0094B}" presName="thickLine" presStyleLbl="alignNode1" presStyleIdx="4" presStyleCnt="6"/>
      <dgm:spPr/>
    </dgm:pt>
    <dgm:pt modelId="{F9E2929A-105E-1B4A-8709-FC8AD3E019FC}" type="pres">
      <dgm:prSet presAssocID="{9D592A1A-E2DB-D742-A642-67BE35B0094B}" presName="horz1" presStyleCnt="0"/>
      <dgm:spPr/>
    </dgm:pt>
    <dgm:pt modelId="{4153FA29-BFCB-E944-A493-CDD95CEECA5D}" type="pres">
      <dgm:prSet presAssocID="{9D592A1A-E2DB-D742-A642-67BE35B0094B}" presName="tx1" presStyleLbl="revTx" presStyleIdx="8" presStyleCnt="12"/>
      <dgm:spPr/>
    </dgm:pt>
    <dgm:pt modelId="{1EB5047B-010D-A74B-AFED-DCB0B19ACCD5}" type="pres">
      <dgm:prSet presAssocID="{9D592A1A-E2DB-D742-A642-67BE35B0094B}" presName="vert1" presStyleCnt="0"/>
      <dgm:spPr/>
    </dgm:pt>
    <dgm:pt modelId="{D786569B-2794-C94F-BABA-3D17079BF381}" type="pres">
      <dgm:prSet presAssocID="{3DFA88A9-64B3-D148-BA42-B57F3F9AE111}" presName="vertSpace2a" presStyleCnt="0"/>
      <dgm:spPr/>
    </dgm:pt>
    <dgm:pt modelId="{4AF36649-60D0-6D45-B76D-04EEF89FBE44}" type="pres">
      <dgm:prSet presAssocID="{3DFA88A9-64B3-D148-BA42-B57F3F9AE111}" presName="horz2" presStyleCnt="0"/>
      <dgm:spPr/>
    </dgm:pt>
    <dgm:pt modelId="{8678B080-805E-A84D-8E3F-C38D980F8969}" type="pres">
      <dgm:prSet presAssocID="{3DFA88A9-64B3-D148-BA42-B57F3F9AE111}" presName="horzSpace2" presStyleCnt="0"/>
      <dgm:spPr/>
    </dgm:pt>
    <dgm:pt modelId="{962DA4B9-1710-0D44-8536-3EF56B5BEC2B}" type="pres">
      <dgm:prSet presAssocID="{3DFA88A9-64B3-D148-BA42-B57F3F9AE111}" presName="tx2" presStyleLbl="revTx" presStyleIdx="9" presStyleCnt="12"/>
      <dgm:spPr/>
    </dgm:pt>
    <dgm:pt modelId="{25DE58CB-559B-6E49-9214-A102E6252B30}" type="pres">
      <dgm:prSet presAssocID="{3DFA88A9-64B3-D148-BA42-B57F3F9AE111}" presName="vert2" presStyleCnt="0"/>
      <dgm:spPr/>
    </dgm:pt>
    <dgm:pt modelId="{1F8EAD91-D6EA-2247-8DB5-016AE8EFFC81}" type="pres">
      <dgm:prSet presAssocID="{3DFA88A9-64B3-D148-BA42-B57F3F9AE111}" presName="thinLine2b" presStyleLbl="callout" presStyleIdx="4" presStyleCnt="6"/>
      <dgm:spPr/>
    </dgm:pt>
    <dgm:pt modelId="{6D766976-7C55-AD4D-9C8E-A0FE2A970799}" type="pres">
      <dgm:prSet presAssocID="{3DFA88A9-64B3-D148-BA42-B57F3F9AE111}" presName="vertSpace2b" presStyleCnt="0"/>
      <dgm:spPr/>
    </dgm:pt>
    <dgm:pt modelId="{DAFF74FC-DD1D-B74B-B69F-34FF7D1A5BC1}" type="pres">
      <dgm:prSet presAssocID="{8017B577-04A9-EF42-9324-335EE7C44612}" presName="thickLine" presStyleLbl="alignNode1" presStyleIdx="5" presStyleCnt="6"/>
      <dgm:spPr/>
    </dgm:pt>
    <dgm:pt modelId="{170BBCB5-36F9-2846-8204-F001A4D657C7}" type="pres">
      <dgm:prSet presAssocID="{8017B577-04A9-EF42-9324-335EE7C44612}" presName="horz1" presStyleCnt="0"/>
      <dgm:spPr/>
    </dgm:pt>
    <dgm:pt modelId="{07CDBA3A-0666-6341-9A2F-5935916319F6}" type="pres">
      <dgm:prSet presAssocID="{8017B577-04A9-EF42-9324-335EE7C44612}" presName="tx1" presStyleLbl="revTx" presStyleIdx="10" presStyleCnt="12"/>
      <dgm:spPr/>
    </dgm:pt>
    <dgm:pt modelId="{8BA77C32-1AC7-C14C-99D7-F09843260C7A}" type="pres">
      <dgm:prSet presAssocID="{8017B577-04A9-EF42-9324-335EE7C44612}" presName="vert1" presStyleCnt="0"/>
      <dgm:spPr/>
    </dgm:pt>
    <dgm:pt modelId="{47771FB7-8A15-5247-8541-A487E89031A2}" type="pres">
      <dgm:prSet presAssocID="{25B48A5A-0C2D-A94E-B9BA-B23EE8D9BF3C}" presName="vertSpace2a" presStyleCnt="0"/>
      <dgm:spPr/>
    </dgm:pt>
    <dgm:pt modelId="{57222546-1AEF-DF47-9603-7204DD2B771E}" type="pres">
      <dgm:prSet presAssocID="{25B48A5A-0C2D-A94E-B9BA-B23EE8D9BF3C}" presName="horz2" presStyleCnt="0"/>
      <dgm:spPr/>
    </dgm:pt>
    <dgm:pt modelId="{2D803CFC-237B-0543-B332-4BBE06D0982C}" type="pres">
      <dgm:prSet presAssocID="{25B48A5A-0C2D-A94E-B9BA-B23EE8D9BF3C}" presName="horzSpace2" presStyleCnt="0"/>
      <dgm:spPr/>
    </dgm:pt>
    <dgm:pt modelId="{FA046FD9-5EDA-4D4E-A42A-D3E0B9406AE1}" type="pres">
      <dgm:prSet presAssocID="{25B48A5A-0C2D-A94E-B9BA-B23EE8D9BF3C}" presName="tx2" presStyleLbl="revTx" presStyleIdx="11" presStyleCnt="12"/>
      <dgm:spPr/>
    </dgm:pt>
    <dgm:pt modelId="{A4C08093-6D42-5941-A812-49E9B996A115}" type="pres">
      <dgm:prSet presAssocID="{25B48A5A-0C2D-A94E-B9BA-B23EE8D9BF3C}" presName="vert2" presStyleCnt="0"/>
      <dgm:spPr/>
    </dgm:pt>
    <dgm:pt modelId="{5B1D7F24-720C-1F48-B890-60849C9E35E9}" type="pres">
      <dgm:prSet presAssocID="{25B48A5A-0C2D-A94E-B9BA-B23EE8D9BF3C}" presName="thinLine2b" presStyleLbl="callout" presStyleIdx="5" presStyleCnt="6"/>
      <dgm:spPr/>
    </dgm:pt>
    <dgm:pt modelId="{8B1948D5-6E2B-6A4D-B7B8-9A28492C6105}" type="pres">
      <dgm:prSet presAssocID="{25B48A5A-0C2D-A94E-B9BA-B23EE8D9BF3C}" presName="vertSpace2b" presStyleCnt="0"/>
      <dgm:spPr/>
    </dgm:pt>
  </dgm:ptLst>
  <dgm:cxnLst>
    <dgm:cxn modelId="{C91D3C04-6CF1-5F4E-92EB-FD3F3513F4ED}" srcId="{8142AD0C-86FA-B243-B166-26D8FB110D32}" destId="{9F44A67A-1F53-684B-9654-C4EF6E67D8D2}" srcOrd="3" destOrd="0" parTransId="{79A2D3CE-0390-384E-A1CB-166B539BFA51}" sibTransId="{4BE74216-580F-C944-8B31-5CBD89A1F062}"/>
    <dgm:cxn modelId="{D158DF07-E2FF-9848-9CD7-AAE63B28C595}" srcId="{9F44A67A-1F53-684B-9654-C4EF6E67D8D2}" destId="{7F438C84-930E-8248-BDFD-B1199B3555A2}" srcOrd="0" destOrd="0" parTransId="{8B9FB36C-05E3-5147-BD61-E6CFB755C7B3}" sibTransId="{58B78B8F-860C-F64E-9160-10F5900BBD07}"/>
    <dgm:cxn modelId="{6482D508-0DE5-2748-A86F-8AB029078203}" srcId="{8142AD0C-86FA-B243-B166-26D8FB110D32}" destId="{9D592A1A-E2DB-D742-A642-67BE35B0094B}" srcOrd="4" destOrd="0" parTransId="{CE40508A-FFBC-9C48-95E2-F7E1E6BE878E}" sibTransId="{E17A9CF2-B6E4-0C48-9D35-1B57D04AFD6A}"/>
    <dgm:cxn modelId="{4695911F-0B4F-CF44-B314-582F903BB50C}" type="presOf" srcId="{7F438C84-930E-8248-BDFD-B1199B3555A2}" destId="{90EB9402-5F02-064A-BE19-E30410CB602D}" srcOrd="0" destOrd="0" presId="urn:microsoft.com/office/officeart/2008/layout/LinedList"/>
    <dgm:cxn modelId="{1BF61B43-F84B-BA45-A13D-108B68EEA9A7}" type="presOf" srcId="{25B48A5A-0C2D-A94E-B9BA-B23EE8D9BF3C}" destId="{FA046FD9-5EDA-4D4E-A42A-D3E0B9406AE1}" srcOrd="0" destOrd="0" presId="urn:microsoft.com/office/officeart/2008/layout/LinedList"/>
    <dgm:cxn modelId="{4AD41C4C-C2CC-C244-99B1-AAF53D572BF9}" srcId="{EBFF5571-CA4E-784D-8C9D-E467B09F5F0B}" destId="{654AC7E6-7316-CB42-848C-A3D5668C3BFC}" srcOrd="0" destOrd="0" parTransId="{CE327E88-D9C0-F744-85BA-CDBDCAA87470}" sibTransId="{454FCA73-BC47-DE44-A98F-43A8BF5AF0B1}"/>
    <dgm:cxn modelId="{D16B5556-1AA8-614D-9529-88621EBCF11A}" type="presOf" srcId="{3DFA88A9-64B3-D148-BA42-B57F3F9AE111}" destId="{962DA4B9-1710-0D44-8536-3EF56B5BEC2B}" srcOrd="0" destOrd="0" presId="urn:microsoft.com/office/officeart/2008/layout/LinedList"/>
    <dgm:cxn modelId="{01A7B558-648F-5D4F-8FBA-184EACC44F9A}" srcId="{8142AD0C-86FA-B243-B166-26D8FB110D32}" destId="{EBFF5571-CA4E-784D-8C9D-E467B09F5F0B}" srcOrd="2" destOrd="0" parTransId="{542AF013-664C-A942-BEFC-BDD6823204E0}" sibTransId="{82197CEE-E4D4-9F43-8818-D0C50D32ECAC}"/>
    <dgm:cxn modelId="{44104B5C-AF0B-7741-8F8E-F64DDFEF8C52}" srcId="{9D592A1A-E2DB-D742-A642-67BE35B0094B}" destId="{3DFA88A9-64B3-D148-BA42-B57F3F9AE111}" srcOrd="0" destOrd="0" parTransId="{993A1D7F-3CD5-184E-9B17-E86D49EF06BB}" sibTransId="{B96DE17A-3FF9-A142-B95C-789296A430B3}"/>
    <dgm:cxn modelId="{BE5C8B75-B14C-F041-867F-555CF6A080C1}" srcId="{652C4442-2266-2C43-8A1D-A9CE87C79752}" destId="{6E4ECD29-EFAD-EC4D-8938-C72DA28DDF27}" srcOrd="0" destOrd="0" parTransId="{0D3B8128-FA1B-EC4D-B1B4-AACA99E1DAC7}" sibTransId="{9C0999B2-6D35-FE45-86B9-B460F8CB0DE7}"/>
    <dgm:cxn modelId="{4E812786-4A59-E94C-8384-F760155CDCC5}" type="presOf" srcId="{8142AD0C-86FA-B243-B166-26D8FB110D32}" destId="{065E06A6-93BF-D341-BA73-F1789C949E53}" srcOrd="0" destOrd="0" presId="urn:microsoft.com/office/officeart/2008/layout/LinedList"/>
    <dgm:cxn modelId="{533B888A-294C-5F4D-9FBE-D345AE51B502}" type="presOf" srcId="{652C4442-2266-2C43-8A1D-A9CE87C79752}" destId="{AFA5C870-F99C-FF49-BFB5-B6DC764C0F74}" srcOrd="0" destOrd="0" presId="urn:microsoft.com/office/officeart/2008/layout/LinedList"/>
    <dgm:cxn modelId="{F6F8BA9A-07CB-FF44-879E-0D8460D97BCF}" srcId="{8142AD0C-86FA-B243-B166-26D8FB110D32}" destId="{8017B577-04A9-EF42-9324-335EE7C44612}" srcOrd="5" destOrd="0" parTransId="{30203EB1-ECCF-FD4A-8F4C-03FEC4D83F5C}" sibTransId="{006A3E87-AA61-A744-AF6A-63D744D6EDDB}"/>
    <dgm:cxn modelId="{5AE55BA0-5D10-854A-8DAA-0E8AF2827D31}" srcId="{8142AD0C-86FA-B243-B166-26D8FB110D32}" destId="{652C4442-2266-2C43-8A1D-A9CE87C79752}" srcOrd="0" destOrd="0" parTransId="{9CF2BC7E-153B-304A-89B7-CC440CF2F1E1}" sibTransId="{6DC0F59B-EC31-FC4F-95F4-C2A0F5A40FDD}"/>
    <dgm:cxn modelId="{8450C6AB-11FD-2E4A-B777-A987481FBAE4}" type="presOf" srcId="{6E4ECD29-EFAD-EC4D-8938-C72DA28DDF27}" destId="{4D454942-FCED-3F4E-92A1-F3B9F2A58AF1}" srcOrd="0" destOrd="0" presId="urn:microsoft.com/office/officeart/2008/layout/LinedList"/>
    <dgm:cxn modelId="{E57A1CAF-B5D2-3A43-90FC-1D33C5912685}" type="presOf" srcId="{8F12B645-8015-1948-9081-00753FAC29ED}" destId="{247EF0BE-5FA4-2B4A-BC36-20AD5F3C7955}" srcOrd="0" destOrd="0" presId="urn:microsoft.com/office/officeart/2008/layout/LinedList"/>
    <dgm:cxn modelId="{7FD12DB5-4E9A-4842-811A-584E4AEC1077}" type="presOf" srcId="{9D592A1A-E2DB-D742-A642-67BE35B0094B}" destId="{4153FA29-BFCB-E944-A493-CDD95CEECA5D}" srcOrd="0" destOrd="0" presId="urn:microsoft.com/office/officeart/2008/layout/LinedList"/>
    <dgm:cxn modelId="{2BDE66B5-BBBC-B749-9B15-D39206634BB9}" type="presOf" srcId="{EBFF5571-CA4E-784D-8C9D-E467B09F5F0B}" destId="{98D61255-211B-3F4B-9909-DB4307E7C6F2}" srcOrd="0" destOrd="0" presId="urn:microsoft.com/office/officeart/2008/layout/LinedList"/>
    <dgm:cxn modelId="{36BF43BA-68D7-024B-9947-CA5AFE547B88}" type="presOf" srcId="{5B6DCCBF-A58E-B649-95E0-C52A8E0FABC4}" destId="{A07A9B04-B35D-A045-9E6A-B5E7F04BC29A}" srcOrd="0" destOrd="0" presId="urn:microsoft.com/office/officeart/2008/layout/LinedList"/>
    <dgm:cxn modelId="{7B4D87BB-F6DB-AD41-8D20-C65AB794C3E8}" srcId="{8142AD0C-86FA-B243-B166-26D8FB110D32}" destId="{5B6DCCBF-A58E-B649-95E0-C52A8E0FABC4}" srcOrd="1" destOrd="0" parTransId="{7D8B9327-367A-1443-917D-C5E6845C600C}" sibTransId="{624253A8-0B7C-F148-A1E8-6BDB3B0CFDCC}"/>
    <dgm:cxn modelId="{67E9F0CE-EF9D-D94A-8BB1-78AFAE2EF33C}" type="presOf" srcId="{8017B577-04A9-EF42-9324-335EE7C44612}" destId="{07CDBA3A-0666-6341-9A2F-5935916319F6}" srcOrd="0" destOrd="0" presId="urn:microsoft.com/office/officeart/2008/layout/LinedList"/>
    <dgm:cxn modelId="{E0551AD1-E307-3B47-B419-2DB9651F5E0D}" type="presOf" srcId="{654AC7E6-7316-CB42-848C-A3D5668C3BFC}" destId="{BA4F120F-58E4-2C40-A33C-FC4E2D8B97BD}" srcOrd="0" destOrd="0" presId="urn:microsoft.com/office/officeart/2008/layout/LinedList"/>
    <dgm:cxn modelId="{DDC0C4D8-8C10-484B-A397-8B1FBE288F95}" srcId="{8017B577-04A9-EF42-9324-335EE7C44612}" destId="{25B48A5A-0C2D-A94E-B9BA-B23EE8D9BF3C}" srcOrd="0" destOrd="0" parTransId="{F8041C04-CCB8-AC4D-85ED-D9F4659FA4A6}" sibTransId="{AEE86248-7A57-3A4A-B2D7-C4C92F46295E}"/>
    <dgm:cxn modelId="{7156F4E8-7EAE-6444-B3A7-69A75B7E8C51}" srcId="{5B6DCCBF-A58E-B649-95E0-C52A8E0FABC4}" destId="{8F12B645-8015-1948-9081-00753FAC29ED}" srcOrd="0" destOrd="0" parTransId="{C0227A97-6F9D-504F-B990-3D1BF1AEB03C}" sibTransId="{131C8DA3-97F3-0C44-B0F6-ADEE67DE7780}"/>
    <dgm:cxn modelId="{DA80B9EA-8911-474D-8894-7ECBF2A1CB35}" type="presOf" srcId="{9F44A67A-1F53-684B-9654-C4EF6E67D8D2}" destId="{548E9197-CFFB-A045-933C-C635EF025E6F}" srcOrd="0" destOrd="0" presId="urn:microsoft.com/office/officeart/2008/layout/LinedList"/>
    <dgm:cxn modelId="{0D23866A-9D7D-F84C-AB0D-E22DCF8D0843}" type="presParOf" srcId="{065E06A6-93BF-D341-BA73-F1789C949E53}" destId="{9E1B6612-BCCE-B042-9A6C-F65712631A83}" srcOrd="0" destOrd="0" presId="urn:microsoft.com/office/officeart/2008/layout/LinedList"/>
    <dgm:cxn modelId="{C47DAA3A-7B30-0241-AE95-1711E5312383}" type="presParOf" srcId="{065E06A6-93BF-D341-BA73-F1789C949E53}" destId="{898555A4-57E6-964D-AB19-EBDE77B2464C}" srcOrd="1" destOrd="0" presId="urn:microsoft.com/office/officeart/2008/layout/LinedList"/>
    <dgm:cxn modelId="{65A74C25-F4FD-A84D-BCF1-5F82C1E440E1}" type="presParOf" srcId="{898555A4-57E6-964D-AB19-EBDE77B2464C}" destId="{AFA5C870-F99C-FF49-BFB5-B6DC764C0F74}" srcOrd="0" destOrd="0" presId="urn:microsoft.com/office/officeart/2008/layout/LinedList"/>
    <dgm:cxn modelId="{2A96E0A9-27AB-EE4C-8FD4-C6B4FA1A746E}" type="presParOf" srcId="{898555A4-57E6-964D-AB19-EBDE77B2464C}" destId="{7B09925F-DE50-3C40-B3C4-5EF427AB28AF}" srcOrd="1" destOrd="0" presId="urn:microsoft.com/office/officeart/2008/layout/LinedList"/>
    <dgm:cxn modelId="{9E36692C-18C1-EC4B-A60C-DA62B6F94035}" type="presParOf" srcId="{7B09925F-DE50-3C40-B3C4-5EF427AB28AF}" destId="{C4E9A03F-2C55-EB40-A3CC-60F10BD323C6}" srcOrd="0" destOrd="0" presId="urn:microsoft.com/office/officeart/2008/layout/LinedList"/>
    <dgm:cxn modelId="{BB98BD08-A08E-9C43-86F7-F60C7512F458}" type="presParOf" srcId="{7B09925F-DE50-3C40-B3C4-5EF427AB28AF}" destId="{22F4DE05-ACC8-E348-B565-7414F227D598}" srcOrd="1" destOrd="0" presId="urn:microsoft.com/office/officeart/2008/layout/LinedList"/>
    <dgm:cxn modelId="{E400EEF9-7980-BF4C-8C58-B4483ADA8DF7}" type="presParOf" srcId="{22F4DE05-ACC8-E348-B565-7414F227D598}" destId="{F09233B1-3EC0-A34E-897E-00B01BA3411C}" srcOrd="0" destOrd="0" presId="urn:microsoft.com/office/officeart/2008/layout/LinedList"/>
    <dgm:cxn modelId="{1DEBA918-17A2-A04E-8755-F4B233EE0547}" type="presParOf" srcId="{22F4DE05-ACC8-E348-B565-7414F227D598}" destId="{4D454942-FCED-3F4E-92A1-F3B9F2A58AF1}" srcOrd="1" destOrd="0" presId="urn:microsoft.com/office/officeart/2008/layout/LinedList"/>
    <dgm:cxn modelId="{08C0CA36-EF12-D845-A063-F529607A8B64}" type="presParOf" srcId="{22F4DE05-ACC8-E348-B565-7414F227D598}" destId="{7CF2C85C-A8DC-9D4E-A148-4248A9FBD197}" srcOrd="2" destOrd="0" presId="urn:microsoft.com/office/officeart/2008/layout/LinedList"/>
    <dgm:cxn modelId="{A6658F2F-EFA1-D344-B468-E3FAB9C05641}" type="presParOf" srcId="{7B09925F-DE50-3C40-B3C4-5EF427AB28AF}" destId="{62A39CC5-439A-6C49-8C57-7C9E06B16FD0}" srcOrd="2" destOrd="0" presId="urn:microsoft.com/office/officeart/2008/layout/LinedList"/>
    <dgm:cxn modelId="{5BBE72D0-BBA8-B04B-B6E9-15264DF5F455}" type="presParOf" srcId="{7B09925F-DE50-3C40-B3C4-5EF427AB28AF}" destId="{B52FE149-8E1F-2C46-A147-555E8048AB52}" srcOrd="3" destOrd="0" presId="urn:microsoft.com/office/officeart/2008/layout/LinedList"/>
    <dgm:cxn modelId="{89D1C172-8410-6D4B-8674-142872F7C4AB}" type="presParOf" srcId="{065E06A6-93BF-D341-BA73-F1789C949E53}" destId="{D3988298-E2EE-6942-83C6-A249A0BFFB10}" srcOrd="2" destOrd="0" presId="urn:microsoft.com/office/officeart/2008/layout/LinedList"/>
    <dgm:cxn modelId="{47FA26B3-51FE-154D-A7EF-03FD3ED0B62E}" type="presParOf" srcId="{065E06A6-93BF-D341-BA73-F1789C949E53}" destId="{38EC2229-E751-DC4A-AD9B-BAE9E95398AB}" srcOrd="3" destOrd="0" presId="urn:microsoft.com/office/officeart/2008/layout/LinedList"/>
    <dgm:cxn modelId="{88C094D6-2D66-E94D-AD36-42A8811952CB}" type="presParOf" srcId="{38EC2229-E751-DC4A-AD9B-BAE9E95398AB}" destId="{A07A9B04-B35D-A045-9E6A-B5E7F04BC29A}" srcOrd="0" destOrd="0" presId="urn:microsoft.com/office/officeart/2008/layout/LinedList"/>
    <dgm:cxn modelId="{8D35CD65-EBC6-1941-AE53-7FE3CB93F81F}" type="presParOf" srcId="{38EC2229-E751-DC4A-AD9B-BAE9E95398AB}" destId="{A1BE0C18-32F4-204C-826A-903C418371AB}" srcOrd="1" destOrd="0" presId="urn:microsoft.com/office/officeart/2008/layout/LinedList"/>
    <dgm:cxn modelId="{CFD6093B-9E3C-A44A-99B5-DCDB6101EC58}" type="presParOf" srcId="{A1BE0C18-32F4-204C-826A-903C418371AB}" destId="{152144D3-723E-C446-8241-7FA3A6B7ABC5}" srcOrd="0" destOrd="0" presId="urn:microsoft.com/office/officeart/2008/layout/LinedList"/>
    <dgm:cxn modelId="{46531E81-01FF-9F4B-99B2-E121A9992605}" type="presParOf" srcId="{A1BE0C18-32F4-204C-826A-903C418371AB}" destId="{741BF819-ABE5-9444-88A4-542A54E44695}" srcOrd="1" destOrd="0" presId="urn:microsoft.com/office/officeart/2008/layout/LinedList"/>
    <dgm:cxn modelId="{6BD2DBC6-2966-3B4A-B5CC-AAD9A07F68CE}" type="presParOf" srcId="{741BF819-ABE5-9444-88A4-542A54E44695}" destId="{6C2C67A3-7499-8E48-9E97-C3E97EE30DD2}" srcOrd="0" destOrd="0" presId="urn:microsoft.com/office/officeart/2008/layout/LinedList"/>
    <dgm:cxn modelId="{54FE154F-C2AE-6243-B515-479676438FD6}" type="presParOf" srcId="{741BF819-ABE5-9444-88A4-542A54E44695}" destId="{247EF0BE-5FA4-2B4A-BC36-20AD5F3C7955}" srcOrd="1" destOrd="0" presId="urn:microsoft.com/office/officeart/2008/layout/LinedList"/>
    <dgm:cxn modelId="{AABC364D-34FD-AC40-A893-02418B1B7DE1}" type="presParOf" srcId="{741BF819-ABE5-9444-88A4-542A54E44695}" destId="{1FF1B941-1344-B34D-BD9C-A2621DA23D6E}" srcOrd="2" destOrd="0" presId="urn:microsoft.com/office/officeart/2008/layout/LinedList"/>
    <dgm:cxn modelId="{6620D766-BB79-644E-AA6C-79EAA47B8A96}" type="presParOf" srcId="{A1BE0C18-32F4-204C-826A-903C418371AB}" destId="{76205FD9-7E14-314B-A0D8-969462E4A01E}" srcOrd="2" destOrd="0" presId="urn:microsoft.com/office/officeart/2008/layout/LinedList"/>
    <dgm:cxn modelId="{F185275A-EC51-E54A-9769-FBA1D8856EA0}" type="presParOf" srcId="{A1BE0C18-32F4-204C-826A-903C418371AB}" destId="{81DC6D2B-294C-1D48-8122-1FECC18E0FE1}" srcOrd="3" destOrd="0" presId="urn:microsoft.com/office/officeart/2008/layout/LinedList"/>
    <dgm:cxn modelId="{80312E9C-74CD-C34B-8818-63AAD51D8D52}" type="presParOf" srcId="{065E06A6-93BF-D341-BA73-F1789C949E53}" destId="{D1754501-C96A-7744-9EEC-16C0F1E7EADA}" srcOrd="4" destOrd="0" presId="urn:microsoft.com/office/officeart/2008/layout/LinedList"/>
    <dgm:cxn modelId="{A79D9375-5830-4A49-BEE5-8BA43392AE9F}" type="presParOf" srcId="{065E06A6-93BF-D341-BA73-F1789C949E53}" destId="{09F9AD76-E56C-3E42-AA90-0CED739C7264}" srcOrd="5" destOrd="0" presId="urn:microsoft.com/office/officeart/2008/layout/LinedList"/>
    <dgm:cxn modelId="{F334A288-65F1-8D43-9D28-EFA84453D315}" type="presParOf" srcId="{09F9AD76-E56C-3E42-AA90-0CED739C7264}" destId="{98D61255-211B-3F4B-9909-DB4307E7C6F2}" srcOrd="0" destOrd="0" presId="urn:microsoft.com/office/officeart/2008/layout/LinedList"/>
    <dgm:cxn modelId="{FA71CD79-60DF-2A4F-8526-DFF86C0E4AC3}" type="presParOf" srcId="{09F9AD76-E56C-3E42-AA90-0CED739C7264}" destId="{7888183B-D36B-5647-BE56-087CDEA0B068}" srcOrd="1" destOrd="0" presId="urn:microsoft.com/office/officeart/2008/layout/LinedList"/>
    <dgm:cxn modelId="{D6958F7E-E60E-D143-B0BB-8BF32CD75715}" type="presParOf" srcId="{7888183B-D36B-5647-BE56-087CDEA0B068}" destId="{4DB2906D-0111-D048-AD21-FC2147C246CB}" srcOrd="0" destOrd="0" presId="urn:microsoft.com/office/officeart/2008/layout/LinedList"/>
    <dgm:cxn modelId="{81F3F2B9-E7C3-0D46-9D0F-5F5411993553}" type="presParOf" srcId="{7888183B-D36B-5647-BE56-087CDEA0B068}" destId="{F9BBE756-5D9B-104B-89B0-4C42B2537753}" srcOrd="1" destOrd="0" presId="urn:microsoft.com/office/officeart/2008/layout/LinedList"/>
    <dgm:cxn modelId="{B42B29D9-20EF-3243-979F-10000109C9D0}" type="presParOf" srcId="{F9BBE756-5D9B-104B-89B0-4C42B2537753}" destId="{6F17E7FB-6C45-F54E-B63E-7F2E91A13A1E}" srcOrd="0" destOrd="0" presId="urn:microsoft.com/office/officeart/2008/layout/LinedList"/>
    <dgm:cxn modelId="{0E26E395-EFF6-0640-B831-2095D5E079EE}" type="presParOf" srcId="{F9BBE756-5D9B-104B-89B0-4C42B2537753}" destId="{BA4F120F-58E4-2C40-A33C-FC4E2D8B97BD}" srcOrd="1" destOrd="0" presId="urn:microsoft.com/office/officeart/2008/layout/LinedList"/>
    <dgm:cxn modelId="{F4623C6F-8DC1-9245-95AF-D5C86577FEF1}" type="presParOf" srcId="{F9BBE756-5D9B-104B-89B0-4C42B2537753}" destId="{F991A579-64C0-CD49-BBE3-0534ABD3843A}" srcOrd="2" destOrd="0" presId="urn:microsoft.com/office/officeart/2008/layout/LinedList"/>
    <dgm:cxn modelId="{ECCCEFF5-3E71-1741-873F-A7E1212E936E}" type="presParOf" srcId="{7888183B-D36B-5647-BE56-087CDEA0B068}" destId="{261FFBB8-A936-D646-84B2-6A14CE0CA075}" srcOrd="2" destOrd="0" presId="urn:microsoft.com/office/officeart/2008/layout/LinedList"/>
    <dgm:cxn modelId="{4E8748FD-FE10-E142-92B4-13B708F1FF4D}" type="presParOf" srcId="{7888183B-D36B-5647-BE56-087CDEA0B068}" destId="{DCDABA1A-6F8B-F041-A13F-5470C5605C39}" srcOrd="3" destOrd="0" presId="urn:microsoft.com/office/officeart/2008/layout/LinedList"/>
    <dgm:cxn modelId="{84C7B3AA-662C-3141-B5CA-6BDCD6866069}" type="presParOf" srcId="{065E06A6-93BF-D341-BA73-F1789C949E53}" destId="{65118120-6F3F-3D4A-97C0-1D8F62DB44F2}" srcOrd="6" destOrd="0" presId="urn:microsoft.com/office/officeart/2008/layout/LinedList"/>
    <dgm:cxn modelId="{57653143-AAA8-B84B-A4D9-97FD086F3FE6}" type="presParOf" srcId="{065E06A6-93BF-D341-BA73-F1789C949E53}" destId="{4D357140-42AA-1B44-80CD-8B57EF9B234C}" srcOrd="7" destOrd="0" presId="urn:microsoft.com/office/officeart/2008/layout/LinedList"/>
    <dgm:cxn modelId="{D5C8BDBA-ADF7-B341-9595-3769A14C446C}" type="presParOf" srcId="{4D357140-42AA-1B44-80CD-8B57EF9B234C}" destId="{548E9197-CFFB-A045-933C-C635EF025E6F}" srcOrd="0" destOrd="0" presId="urn:microsoft.com/office/officeart/2008/layout/LinedList"/>
    <dgm:cxn modelId="{F3273307-B2D5-1D47-B596-99ABFBB892E6}" type="presParOf" srcId="{4D357140-42AA-1B44-80CD-8B57EF9B234C}" destId="{C1D4ED14-9092-C14E-B35B-C287AAAE9377}" srcOrd="1" destOrd="0" presId="urn:microsoft.com/office/officeart/2008/layout/LinedList"/>
    <dgm:cxn modelId="{9A0DB7F4-1A51-F944-99EE-C22A26882239}" type="presParOf" srcId="{C1D4ED14-9092-C14E-B35B-C287AAAE9377}" destId="{175972DF-4BA5-2E46-8D95-648F47CAC049}" srcOrd="0" destOrd="0" presId="urn:microsoft.com/office/officeart/2008/layout/LinedList"/>
    <dgm:cxn modelId="{B44CE8E7-4ED3-C044-B15D-2D8689D407C5}" type="presParOf" srcId="{C1D4ED14-9092-C14E-B35B-C287AAAE9377}" destId="{B4B0D304-1C4A-FB49-8167-91E22A897C0B}" srcOrd="1" destOrd="0" presId="urn:microsoft.com/office/officeart/2008/layout/LinedList"/>
    <dgm:cxn modelId="{2B6F540C-B7B6-1841-BB5B-852448700875}" type="presParOf" srcId="{B4B0D304-1C4A-FB49-8167-91E22A897C0B}" destId="{1B59BC33-0979-6A46-81AD-AC80F7AACCE4}" srcOrd="0" destOrd="0" presId="urn:microsoft.com/office/officeart/2008/layout/LinedList"/>
    <dgm:cxn modelId="{CF772C75-DDB2-CA4D-9771-49295DE0EAB4}" type="presParOf" srcId="{B4B0D304-1C4A-FB49-8167-91E22A897C0B}" destId="{90EB9402-5F02-064A-BE19-E30410CB602D}" srcOrd="1" destOrd="0" presId="urn:microsoft.com/office/officeart/2008/layout/LinedList"/>
    <dgm:cxn modelId="{4B77C1A8-2FA4-6945-9B77-1092487C8040}" type="presParOf" srcId="{B4B0D304-1C4A-FB49-8167-91E22A897C0B}" destId="{2405CAEC-8C36-8F46-96BC-956E0B78494C}" srcOrd="2" destOrd="0" presId="urn:microsoft.com/office/officeart/2008/layout/LinedList"/>
    <dgm:cxn modelId="{FD49D0AB-4C16-0644-AFB9-9D2DE0CB104F}" type="presParOf" srcId="{C1D4ED14-9092-C14E-B35B-C287AAAE9377}" destId="{9AED8BF8-9039-4B47-9E51-5BF380292C80}" srcOrd="2" destOrd="0" presId="urn:microsoft.com/office/officeart/2008/layout/LinedList"/>
    <dgm:cxn modelId="{C4FD9F98-2E54-A842-A9CC-1CCA9644A5AA}" type="presParOf" srcId="{C1D4ED14-9092-C14E-B35B-C287AAAE9377}" destId="{A2DCFBAB-5305-0F46-A3F1-4BCB5216B4E7}" srcOrd="3" destOrd="0" presId="urn:microsoft.com/office/officeart/2008/layout/LinedList"/>
    <dgm:cxn modelId="{56845D2E-0A59-0341-A3EE-C8E977DCFB9F}" type="presParOf" srcId="{065E06A6-93BF-D341-BA73-F1789C949E53}" destId="{452DF79A-87EC-C64B-AFCB-44150B99A339}" srcOrd="8" destOrd="0" presId="urn:microsoft.com/office/officeart/2008/layout/LinedList"/>
    <dgm:cxn modelId="{51BB3DDD-1241-E14A-A866-CD5B2749D48F}" type="presParOf" srcId="{065E06A6-93BF-D341-BA73-F1789C949E53}" destId="{F9E2929A-105E-1B4A-8709-FC8AD3E019FC}" srcOrd="9" destOrd="0" presId="urn:microsoft.com/office/officeart/2008/layout/LinedList"/>
    <dgm:cxn modelId="{C5FD6667-A2AD-574D-AB8A-A33F1F27DEE9}" type="presParOf" srcId="{F9E2929A-105E-1B4A-8709-FC8AD3E019FC}" destId="{4153FA29-BFCB-E944-A493-CDD95CEECA5D}" srcOrd="0" destOrd="0" presId="urn:microsoft.com/office/officeart/2008/layout/LinedList"/>
    <dgm:cxn modelId="{88021B75-5317-B341-8F9F-15EC0B65266F}" type="presParOf" srcId="{F9E2929A-105E-1B4A-8709-FC8AD3E019FC}" destId="{1EB5047B-010D-A74B-AFED-DCB0B19ACCD5}" srcOrd="1" destOrd="0" presId="urn:microsoft.com/office/officeart/2008/layout/LinedList"/>
    <dgm:cxn modelId="{79D151A3-2F9F-324B-9E6C-FAF80F98185E}" type="presParOf" srcId="{1EB5047B-010D-A74B-AFED-DCB0B19ACCD5}" destId="{D786569B-2794-C94F-BABA-3D17079BF381}" srcOrd="0" destOrd="0" presId="urn:microsoft.com/office/officeart/2008/layout/LinedList"/>
    <dgm:cxn modelId="{577E98F0-83A0-9942-B9EC-5C86156B854D}" type="presParOf" srcId="{1EB5047B-010D-A74B-AFED-DCB0B19ACCD5}" destId="{4AF36649-60D0-6D45-B76D-04EEF89FBE44}" srcOrd="1" destOrd="0" presId="urn:microsoft.com/office/officeart/2008/layout/LinedList"/>
    <dgm:cxn modelId="{C26D30CA-448C-954F-AA7D-7C74F77647D3}" type="presParOf" srcId="{4AF36649-60D0-6D45-B76D-04EEF89FBE44}" destId="{8678B080-805E-A84D-8E3F-C38D980F8969}" srcOrd="0" destOrd="0" presId="urn:microsoft.com/office/officeart/2008/layout/LinedList"/>
    <dgm:cxn modelId="{88C5DEC4-1B60-0B43-B55C-2EA7357C2FA2}" type="presParOf" srcId="{4AF36649-60D0-6D45-B76D-04EEF89FBE44}" destId="{962DA4B9-1710-0D44-8536-3EF56B5BEC2B}" srcOrd="1" destOrd="0" presId="urn:microsoft.com/office/officeart/2008/layout/LinedList"/>
    <dgm:cxn modelId="{E464669C-25DF-3E47-81F7-4B3283828E07}" type="presParOf" srcId="{4AF36649-60D0-6D45-B76D-04EEF89FBE44}" destId="{25DE58CB-559B-6E49-9214-A102E6252B30}" srcOrd="2" destOrd="0" presId="urn:microsoft.com/office/officeart/2008/layout/LinedList"/>
    <dgm:cxn modelId="{9AFB1E35-DB07-934C-BF3F-57EAB36A2173}" type="presParOf" srcId="{1EB5047B-010D-A74B-AFED-DCB0B19ACCD5}" destId="{1F8EAD91-D6EA-2247-8DB5-016AE8EFFC81}" srcOrd="2" destOrd="0" presId="urn:microsoft.com/office/officeart/2008/layout/LinedList"/>
    <dgm:cxn modelId="{4728219E-5C9E-A244-AAA1-F8F7E14ADBD6}" type="presParOf" srcId="{1EB5047B-010D-A74B-AFED-DCB0B19ACCD5}" destId="{6D766976-7C55-AD4D-9C8E-A0FE2A970799}" srcOrd="3" destOrd="0" presId="urn:microsoft.com/office/officeart/2008/layout/LinedList"/>
    <dgm:cxn modelId="{D8A28803-08D8-9B45-A6AA-C137D0861312}" type="presParOf" srcId="{065E06A6-93BF-D341-BA73-F1789C949E53}" destId="{DAFF74FC-DD1D-B74B-B69F-34FF7D1A5BC1}" srcOrd="10" destOrd="0" presId="urn:microsoft.com/office/officeart/2008/layout/LinedList"/>
    <dgm:cxn modelId="{6FB9B24F-E778-2948-A85B-CF939D1D8D8B}" type="presParOf" srcId="{065E06A6-93BF-D341-BA73-F1789C949E53}" destId="{170BBCB5-36F9-2846-8204-F001A4D657C7}" srcOrd="11" destOrd="0" presId="urn:microsoft.com/office/officeart/2008/layout/LinedList"/>
    <dgm:cxn modelId="{E63405A0-7263-E74E-8DF6-D1DA202A907F}" type="presParOf" srcId="{170BBCB5-36F9-2846-8204-F001A4D657C7}" destId="{07CDBA3A-0666-6341-9A2F-5935916319F6}" srcOrd="0" destOrd="0" presId="urn:microsoft.com/office/officeart/2008/layout/LinedList"/>
    <dgm:cxn modelId="{C9E42101-E7C5-0D47-95C4-1E317BB631E7}" type="presParOf" srcId="{170BBCB5-36F9-2846-8204-F001A4D657C7}" destId="{8BA77C32-1AC7-C14C-99D7-F09843260C7A}" srcOrd="1" destOrd="0" presId="urn:microsoft.com/office/officeart/2008/layout/LinedList"/>
    <dgm:cxn modelId="{CC7CDE3B-D45E-DD4D-AA57-992B25EC3C7C}" type="presParOf" srcId="{8BA77C32-1AC7-C14C-99D7-F09843260C7A}" destId="{47771FB7-8A15-5247-8541-A487E89031A2}" srcOrd="0" destOrd="0" presId="urn:microsoft.com/office/officeart/2008/layout/LinedList"/>
    <dgm:cxn modelId="{6674E1A4-61A8-D944-B40C-63D7430D1111}" type="presParOf" srcId="{8BA77C32-1AC7-C14C-99D7-F09843260C7A}" destId="{57222546-1AEF-DF47-9603-7204DD2B771E}" srcOrd="1" destOrd="0" presId="urn:microsoft.com/office/officeart/2008/layout/LinedList"/>
    <dgm:cxn modelId="{6006DAF3-BBC3-5B43-859F-8335DFF20A88}" type="presParOf" srcId="{57222546-1AEF-DF47-9603-7204DD2B771E}" destId="{2D803CFC-237B-0543-B332-4BBE06D0982C}" srcOrd="0" destOrd="0" presId="urn:microsoft.com/office/officeart/2008/layout/LinedList"/>
    <dgm:cxn modelId="{45312F9B-CF15-9F4B-8423-532C2F4849AC}" type="presParOf" srcId="{57222546-1AEF-DF47-9603-7204DD2B771E}" destId="{FA046FD9-5EDA-4D4E-A42A-D3E0B9406AE1}" srcOrd="1" destOrd="0" presId="urn:microsoft.com/office/officeart/2008/layout/LinedList"/>
    <dgm:cxn modelId="{32820677-08D4-C24B-8269-A131CDA754DD}" type="presParOf" srcId="{57222546-1AEF-DF47-9603-7204DD2B771E}" destId="{A4C08093-6D42-5941-A812-49E9B996A115}" srcOrd="2" destOrd="0" presId="urn:microsoft.com/office/officeart/2008/layout/LinedList"/>
    <dgm:cxn modelId="{EB535074-3581-0240-AF11-9C2D01282669}" type="presParOf" srcId="{8BA77C32-1AC7-C14C-99D7-F09843260C7A}" destId="{5B1D7F24-720C-1F48-B890-60849C9E35E9}" srcOrd="2" destOrd="0" presId="urn:microsoft.com/office/officeart/2008/layout/LinedList"/>
    <dgm:cxn modelId="{18AE7D8F-40A7-D84E-843C-8348CF46C776}" type="presParOf" srcId="{8BA77C32-1AC7-C14C-99D7-F09843260C7A}" destId="{8B1948D5-6E2B-6A4D-B7B8-9A28492C6105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C2DB20-EFFD-4E7B-93C1-553BACDC4218}" type="doc">
      <dgm:prSet loTypeId="urn:microsoft.com/office/officeart/2005/8/layout/vList5" loCatId="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B291CD-C87A-4E73-A31F-A5E8DC48EC04}">
      <dgm:prSet custT="1"/>
      <dgm:spPr/>
      <dgm:t>
        <a:bodyPr/>
        <a:lstStyle/>
        <a:p>
          <a:r>
            <a:rPr lang="en-CA" sz="5400" dirty="0"/>
            <a:t>A history of taxation</a:t>
          </a:r>
          <a:endParaRPr lang="en-US" sz="5400" dirty="0"/>
        </a:p>
      </dgm:t>
    </dgm:pt>
    <dgm:pt modelId="{E99F5492-A06F-4526-99D6-3D5D0DAAB8D2}" type="parTrans" cxnId="{C8BF1404-11AF-480F-8668-46368F1D8C9B}">
      <dgm:prSet/>
      <dgm:spPr/>
      <dgm:t>
        <a:bodyPr/>
        <a:lstStyle/>
        <a:p>
          <a:endParaRPr lang="en-US"/>
        </a:p>
      </dgm:t>
    </dgm:pt>
    <dgm:pt modelId="{EB8001B5-1F3F-4B4C-99B7-5E44380F79E6}" type="sibTrans" cxnId="{C8BF1404-11AF-480F-8668-46368F1D8C9B}">
      <dgm:prSet/>
      <dgm:spPr/>
      <dgm:t>
        <a:bodyPr/>
        <a:lstStyle/>
        <a:p>
          <a:endParaRPr lang="en-US"/>
        </a:p>
      </dgm:t>
    </dgm:pt>
    <dgm:pt modelId="{AD87DF97-E5CD-C542-82E6-ECB68457C7F0}" type="pres">
      <dgm:prSet presAssocID="{7BC2DB20-EFFD-4E7B-93C1-553BACDC4218}" presName="Name0" presStyleCnt="0">
        <dgm:presLayoutVars>
          <dgm:dir/>
          <dgm:animLvl val="lvl"/>
          <dgm:resizeHandles val="exact"/>
        </dgm:presLayoutVars>
      </dgm:prSet>
      <dgm:spPr/>
    </dgm:pt>
    <dgm:pt modelId="{D1E803A8-C4AD-B048-A392-9392E9BC855E}" type="pres">
      <dgm:prSet presAssocID="{5CB291CD-C87A-4E73-A31F-A5E8DC48EC04}" presName="linNode" presStyleCnt="0"/>
      <dgm:spPr/>
    </dgm:pt>
    <dgm:pt modelId="{196E0802-B7E6-CC40-BB6E-7F759DEEDBD9}" type="pres">
      <dgm:prSet presAssocID="{5CB291CD-C87A-4E73-A31F-A5E8DC48EC04}" presName="parentText" presStyleLbl="node1" presStyleIdx="0" presStyleCnt="1" custScaleX="277778" custScaleY="45740" custLinFactNeighborX="1224" custLinFactNeighborY="10596">
        <dgm:presLayoutVars>
          <dgm:chMax val="1"/>
          <dgm:bulletEnabled val="1"/>
        </dgm:presLayoutVars>
      </dgm:prSet>
      <dgm:spPr/>
    </dgm:pt>
  </dgm:ptLst>
  <dgm:cxnLst>
    <dgm:cxn modelId="{C8BF1404-11AF-480F-8668-46368F1D8C9B}" srcId="{7BC2DB20-EFFD-4E7B-93C1-553BACDC4218}" destId="{5CB291CD-C87A-4E73-A31F-A5E8DC48EC04}" srcOrd="0" destOrd="0" parTransId="{E99F5492-A06F-4526-99D6-3D5D0DAAB8D2}" sibTransId="{EB8001B5-1F3F-4B4C-99B7-5E44380F79E6}"/>
    <dgm:cxn modelId="{A5A8C492-1D35-2440-A8A3-A3322FB388BE}" type="presOf" srcId="{5CB291CD-C87A-4E73-A31F-A5E8DC48EC04}" destId="{196E0802-B7E6-CC40-BB6E-7F759DEEDBD9}" srcOrd="0" destOrd="0" presId="urn:microsoft.com/office/officeart/2005/8/layout/vList5"/>
    <dgm:cxn modelId="{B19D8BB2-6C2C-B24B-A0AF-0C010C1E13D3}" type="presOf" srcId="{7BC2DB20-EFFD-4E7B-93C1-553BACDC4218}" destId="{AD87DF97-E5CD-C542-82E6-ECB68457C7F0}" srcOrd="0" destOrd="0" presId="urn:microsoft.com/office/officeart/2005/8/layout/vList5"/>
    <dgm:cxn modelId="{71E85651-E270-894F-AEDE-DC4C9B77F4EE}" type="presParOf" srcId="{AD87DF97-E5CD-C542-82E6-ECB68457C7F0}" destId="{D1E803A8-C4AD-B048-A392-9392E9BC855E}" srcOrd="0" destOrd="0" presId="urn:microsoft.com/office/officeart/2005/8/layout/vList5"/>
    <dgm:cxn modelId="{867976D0-8571-B64C-9361-CD85B277A66A}" type="presParOf" srcId="{D1E803A8-C4AD-B048-A392-9392E9BC855E}" destId="{196E0802-B7E6-CC40-BB6E-7F759DEEDBD9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BC2DB20-EFFD-4E7B-93C1-553BACDC4218}" type="doc">
      <dgm:prSet loTypeId="urn:microsoft.com/office/officeart/2008/layout/LinedList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B291CD-C87A-4E73-A31F-A5E8DC48EC04}">
      <dgm:prSet/>
      <dgm:spPr/>
      <dgm:t>
        <a:bodyPr/>
        <a:lstStyle/>
        <a:p>
          <a:r>
            <a:rPr lang="en-US" dirty="0"/>
            <a:t>Types of tax</a:t>
          </a:r>
        </a:p>
      </dgm:t>
    </dgm:pt>
    <dgm:pt modelId="{E99F5492-A06F-4526-99D6-3D5D0DAAB8D2}" type="parTrans" cxnId="{C8BF1404-11AF-480F-8668-46368F1D8C9B}">
      <dgm:prSet/>
      <dgm:spPr/>
      <dgm:t>
        <a:bodyPr/>
        <a:lstStyle/>
        <a:p>
          <a:endParaRPr lang="en-US"/>
        </a:p>
      </dgm:t>
    </dgm:pt>
    <dgm:pt modelId="{EB8001B5-1F3F-4B4C-99B7-5E44380F79E6}" type="sibTrans" cxnId="{C8BF1404-11AF-480F-8668-46368F1D8C9B}">
      <dgm:prSet/>
      <dgm:spPr/>
      <dgm:t>
        <a:bodyPr/>
        <a:lstStyle/>
        <a:p>
          <a:endParaRPr lang="en-US"/>
        </a:p>
      </dgm:t>
    </dgm:pt>
    <dgm:pt modelId="{4412E678-8AFD-BC4D-BB2E-609D454463DF}">
      <dgm:prSet/>
      <dgm:spPr/>
      <dgm:t>
        <a:bodyPr/>
        <a:lstStyle/>
        <a:p>
          <a:r>
            <a:rPr lang="en-US" dirty="0"/>
            <a:t>Source deductions</a:t>
          </a:r>
        </a:p>
      </dgm:t>
    </dgm:pt>
    <dgm:pt modelId="{DE67A28B-7D5F-234F-9427-B10541490790}" type="parTrans" cxnId="{84921AD3-F4A6-D641-B9BB-C03AD367006D}">
      <dgm:prSet/>
      <dgm:spPr/>
      <dgm:t>
        <a:bodyPr/>
        <a:lstStyle/>
        <a:p>
          <a:endParaRPr lang="en-CA"/>
        </a:p>
      </dgm:t>
    </dgm:pt>
    <dgm:pt modelId="{5F875547-B571-3A4A-BE88-FB380EB6FEEC}" type="sibTrans" cxnId="{84921AD3-F4A6-D641-B9BB-C03AD367006D}">
      <dgm:prSet/>
      <dgm:spPr/>
      <dgm:t>
        <a:bodyPr/>
        <a:lstStyle/>
        <a:p>
          <a:endParaRPr lang="en-CA"/>
        </a:p>
      </dgm:t>
    </dgm:pt>
    <dgm:pt modelId="{89501325-8870-C54F-B6B5-A885FD16BBEF}">
      <dgm:prSet/>
      <dgm:spPr/>
      <dgm:t>
        <a:bodyPr/>
        <a:lstStyle/>
        <a:p>
          <a:r>
            <a:rPr lang="en-US" dirty="0"/>
            <a:t>Refunds?</a:t>
          </a:r>
        </a:p>
      </dgm:t>
    </dgm:pt>
    <dgm:pt modelId="{93D6E320-AF8D-9340-BB75-B7591E0E03DC}" type="parTrans" cxnId="{DE75D935-B678-5F4C-B8DB-EE63DF853A19}">
      <dgm:prSet/>
      <dgm:spPr/>
      <dgm:t>
        <a:bodyPr/>
        <a:lstStyle/>
        <a:p>
          <a:endParaRPr lang="en-CA"/>
        </a:p>
      </dgm:t>
    </dgm:pt>
    <dgm:pt modelId="{56AA197C-3F9A-AC48-AF8D-D1B67C44781F}" type="sibTrans" cxnId="{DE75D935-B678-5F4C-B8DB-EE63DF853A19}">
      <dgm:prSet/>
      <dgm:spPr/>
      <dgm:t>
        <a:bodyPr/>
        <a:lstStyle/>
        <a:p>
          <a:endParaRPr lang="en-CA"/>
        </a:p>
      </dgm:t>
    </dgm:pt>
    <dgm:pt modelId="{36563EE1-3303-2E4E-95E5-5B45720A99FB}">
      <dgm:prSet/>
      <dgm:spPr/>
      <dgm:t>
        <a:bodyPr/>
        <a:lstStyle/>
        <a:p>
          <a:r>
            <a:rPr lang="en-US" dirty="0"/>
            <a:t>Income tax</a:t>
          </a:r>
        </a:p>
      </dgm:t>
    </dgm:pt>
    <dgm:pt modelId="{F10C2558-B2A1-F546-9407-638C3A041175}" type="parTrans" cxnId="{744AD923-5AC2-FF44-BF5A-4DA3DAC38D6E}">
      <dgm:prSet/>
      <dgm:spPr/>
      <dgm:t>
        <a:bodyPr/>
        <a:lstStyle/>
        <a:p>
          <a:endParaRPr lang="en-CA"/>
        </a:p>
      </dgm:t>
    </dgm:pt>
    <dgm:pt modelId="{6D3563EE-58B2-384B-82D4-175E1085DD0E}" type="sibTrans" cxnId="{744AD923-5AC2-FF44-BF5A-4DA3DAC38D6E}">
      <dgm:prSet/>
      <dgm:spPr/>
      <dgm:t>
        <a:bodyPr/>
        <a:lstStyle/>
        <a:p>
          <a:endParaRPr lang="en-CA"/>
        </a:p>
      </dgm:t>
    </dgm:pt>
    <dgm:pt modelId="{3BC8AA73-9AAD-6D46-BC49-C8CF746D7D09}">
      <dgm:prSet/>
      <dgm:spPr/>
      <dgm:t>
        <a:bodyPr/>
        <a:lstStyle/>
        <a:p>
          <a:r>
            <a:rPr lang="en-US" dirty="0"/>
            <a:t>CPP</a:t>
          </a:r>
        </a:p>
      </dgm:t>
    </dgm:pt>
    <dgm:pt modelId="{D922FE3D-A164-F34B-BE58-9BE4648B9C9C}" type="parTrans" cxnId="{941C6D3E-323D-D147-A80E-1D1E9C0A38F9}">
      <dgm:prSet/>
      <dgm:spPr/>
      <dgm:t>
        <a:bodyPr/>
        <a:lstStyle/>
        <a:p>
          <a:endParaRPr lang="en-CA"/>
        </a:p>
      </dgm:t>
    </dgm:pt>
    <dgm:pt modelId="{056B8705-9E18-0245-95DD-43D8E23617CD}" type="sibTrans" cxnId="{941C6D3E-323D-D147-A80E-1D1E9C0A38F9}">
      <dgm:prSet/>
      <dgm:spPr/>
      <dgm:t>
        <a:bodyPr/>
        <a:lstStyle/>
        <a:p>
          <a:endParaRPr lang="en-CA"/>
        </a:p>
      </dgm:t>
    </dgm:pt>
    <dgm:pt modelId="{CBFE2EB8-BCBE-CC44-9DB8-93261C1A6DDD}">
      <dgm:prSet/>
      <dgm:spPr/>
      <dgm:t>
        <a:bodyPr/>
        <a:lstStyle/>
        <a:p>
          <a:r>
            <a:rPr lang="en-US" dirty="0"/>
            <a:t>EI</a:t>
          </a:r>
        </a:p>
      </dgm:t>
    </dgm:pt>
    <dgm:pt modelId="{2956A96B-2A1F-024D-9A82-A1159A88558F}" type="parTrans" cxnId="{B2805CC4-C777-B545-9105-F14BB97CBB3B}">
      <dgm:prSet/>
      <dgm:spPr/>
      <dgm:t>
        <a:bodyPr/>
        <a:lstStyle/>
        <a:p>
          <a:endParaRPr lang="en-CA"/>
        </a:p>
      </dgm:t>
    </dgm:pt>
    <dgm:pt modelId="{F4D4253A-0602-0046-A5C6-B69B94C2812E}" type="sibTrans" cxnId="{B2805CC4-C777-B545-9105-F14BB97CBB3B}">
      <dgm:prSet/>
      <dgm:spPr/>
      <dgm:t>
        <a:bodyPr/>
        <a:lstStyle/>
        <a:p>
          <a:endParaRPr lang="en-CA"/>
        </a:p>
      </dgm:t>
    </dgm:pt>
    <dgm:pt modelId="{08C977A2-63B8-4B43-8B78-7C35EB2906B0}">
      <dgm:prSet/>
      <dgm:spPr/>
      <dgm:t>
        <a:bodyPr/>
        <a:lstStyle/>
        <a:p>
          <a:r>
            <a:rPr lang="en-US" dirty="0"/>
            <a:t>Sales tax</a:t>
          </a:r>
        </a:p>
      </dgm:t>
    </dgm:pt>
    <dgm:pt modelId="{FB524BEE-891C-6D4D-BCE8-3D3CE9D80DA9}" type="parTrans" cxnId="{8BCF4E6A-09F9-C242-94D6-F643F215803E}">
      <dgm:prSet/>
      <dgm:spPr/>
      <dgm:t>
        <a:bodyPr/>
        <a:lstStyle/>
        <a:p>
          <a:endParaRPr lang="en-CA"/>
        </a:p>
      </dgm:t>
    </dgm:pt>
    <dgm:pt modelId="{5896DD0B-2B53-684B-A098-883823A659EB}" type="sibTrans" cxnId="{8BCF4E6A-09F9-C242-94D6-F643F215803E}">
      <dgm:prSet/>
      <dgm:spPr/>
      <dgm:t>
        <a:bodyPr/>
        <a:lstStyle/>
        <a:p>
          <a:endParaRPr lang="en-CA"/>
        </a:p>
      </dgm:t>
    </dgm:pt>
    <dgm:pt modelId="{519FFE5E-FC4C-1A4E-850F-73A03B0CF695}">
      <dgm:prSet/>
      <dgm:spPr/>
      <dgm:t>
        <a:bodyPr/>
        <a:lstStyle/>
        <a:p>
          <a:r>
            <a:rPr lang="en-US" dirty="0"/>
            <a:t>Amounts withheld at source by employers</a:t>
          </a:r>
        </a:p>
      </dgm:t>
    </dgm:pt>
    <dgm:pt modelId="{2A224B80-D8AA-4F4C-BB65-E625F6937F8D}" type="parTrans" cxnId="{C860CF4D-0F23-4049-B68B-DA11B54F7DAC}">
      <dgm:prSet/>
      <dgm:spPr/>
      <dgm:t>
        <a:bodyPr/>
        <a:lstStyle/>
        <a:p>
          <a:endParaRPr lang="en-CA"/>
        </a:p>
      </dgm:t>
    </dgm:pt>
    <dgm:pt modelId="{7E1E5911-3A58-434C-9394-618A49AB72AD}" type="sibTrans" cxnId="{C860CF4D-0F23-4049-B68B-DA11B54F7DAC}">
      <dgm:prSet/>
      <dgm:spPr/>
      <dgm:t>
        <a:bodyPr/>
        <a:lstStyle/>
        <a:p>
          <a:endParaRPr lang="en-CA"/>
        </a:p>
      </dgm:t>
    </dgm:pt>
    <dgm:pt modelId="{29031B73-D7D7-BE4A-B074-B47EC6150DC2}">
      <dgm:prSet/>
      <dgm:spPr/>
      <dgm:t>
        <a:bodyPr/>
        <a:lstStyle/>
        <a:p>
          <a:r>
            <a:rPr lang="en-US" dirty="0"/>
            <a:t>Too much tax withheld</a:t>
          </a:r>
        </a:p>
      </dgm:t>
    </dgm:pt>
    <dgm:pt modelId="{00CFDA9C-7CF8-4244-9C9E-6B7FD0CD8CCA}" type="parTrans" cxnId="{0E29E649-FF8C-5543-9400-06474C444849}">
      <dgm:prSet/>
      <dgm:spPr/>
      <dgm:t>
        <a:bodyPr/>
        <a:lstStyle/>
        <a:p>
          <a:endParaRPr lang="en-CA"/>
        </a:p>
      </dgm:t>
    </dgm:pt>
    <dgm:pt modelId="{263D7285-90AC-5B4F-BE83-C24BF43B0BB1}" type="sibTrans" cxnId="{0E29E649-FF8C-5543-9400-06474C444849}">
      <dgm:prSet/>
      <dgm:spPr/>
      <dgm:t>
        <a:bodyPr/>
        <a:lstStyle/>
        <a:p>
          <a:endParaRPr lang="en-CA"/>
        </a:p>
      </dgm:t>
    </dgm:pt>
    <dgm:pt modelId="{4C8BC0C8-BAB5-174D-B2BB-3F7A9AACDDA8}">
      <dgm:prSet/>
      <dgm:spPr/>
      <dgm:t>
        <a:bodyPr/>
        <a:lstStyle/>
        <a:p>
          <a:r>
            <a:rPr lang="en-US" dirty="0"/>
            <a:t>Excess instalments</a:t>
          </a:r>
        </a:p>
      </dgm:t>
    </dgm:pt>
    <dgm:pt modelId="{C9D31C8A-8059-F348-BCA2-3848FDAE265A}" type="parTrans" cxnId="{10725EE1-334A-9D49-9825-F354ABB53B1D}">
      <dgm:prSet/>
      <dgm:spPr/>
      <dgm:t>
        <a:bodyPr/>
        <a:lstStyle/>
        <a:p>
          <a:endParaRPr lang="en-CA"/>
        </a:p>
      </dgm:t>
    </dgm:pt>
    <dgm:pt modelId="{45527631-63F3-F342-8CD8-31A933BC9A5E}" type="sibTrans" cxnId="{10725EE1-334A-9D49-9825-F354ABB53B1D}">
      <dgm:prSet/>
      <dgm:spPr/>
      <dgm:t>
        <a:bodyPr/>
        <a:lstStyle/>
        <a:p>
          <a:endParaRPr lang="en-CA"/>
        </a:p>
      </dgm:t>
    </dgm:pt>
    <dgm:pt modelId="{1C92EF35-6C0E-6A4C-9CC9-77A559C89A2F}">
      <dgm:prSet/>
      <dgm:spPr/>
      <dgm:t>
        <a:bodyPr/>
        <a:lstStyle/>
        <a:p>
          <a:r>
            <a:rPr lang="en-US" dirty="0"/>
            <a:t>Tax credits</a:t>
          </a:r>
        </a:p>
      </dgm:t>
    </dgm:pt>
    <dgm:pt modelId="{8D402EAA-A048-AB4C-8402-38B7328A0699}" type="parTrans" cxnId="{CAACDCD4-8C4F-B547-9F6D-861386180F0F}">
      <dgm:prSet/>
      <dgm:spPr/>
      <dgm:t>
        <a:bodyPr/>
        <a:lstStyle/>
        <a:p>
          <a:endParaRPr lang="en-CA"/>
        </a:p>
      </dgm:t>
    </dgm:pt>
    <dgm:pt modelId="{4B2BC294-1386-9645-BC97-166A46B66FDA}" type="sibTrans" cxnId="{CAACDCD4-8C4F-B547-9F6D-861386180F0F}">
      <dgm:prSet/>
      <dgm:spPr/>
      <dgm:t>
        <a:bodyPr/>
        <a:lstStyle/>
        <a:p>
          <a:endParaRPr lang="en-CA"/>
        </a:p>
      </dgm:t>
    </dgm:pt>
    <dgm:pt modelId="{69612332-6497-F446-98E5-37FF416D1DF4}" type="pres">
      <dgm:prSet presAssocID="{7BC2DB20-EFFD-4E7B-93C1-553BACDC4218}" presName="vert0" presStyleCnt="0">
        <dgm:presLayoutVars>
          <dgm:dir/>
          <dgm:animOne val="branch"/>
          <dgm:animLvl val="lvl"/>
        </dgm:presLayoutVars>
      </dgm:prSet>
      <dgm:spPr/>
    </dgm:pt>
    <dgm:pt modelId="{23C8A850-5CD7-4D40-A17D-7CD80AD51C6A}" type="pres">
      <dgm:prSet presAssocID="{5CB291CD-C87A-4E73-A31F-A5E8DC48EC04}" presName="thickLine" presStyleLbl="alignNode1" presStyleIdx="0" presStyleCnt="3"/>
      <dgm:spPr/>
    </dgm:pt>
    <dgm:pt modelId="{B724CA23-3BC5-184A-9949-10C8DA07BACE}" type="pres">
      <dgm:prSet presAssocID="{5CB291CD-C87A-4E73-A31F-A5E8DC48EC04}" presName="horz1" presStyleCnt="0"/>
      <dgm:spPr/>
    </dgm:pt>
    <dgm:pt modelId="{A4E0ECE1-AE74-FF4B-BF91-3B800CC7CE11}" type="pres">
      <dgm:prSet presAssocID="{5CB291CD-C87A-4E73-A31F-A5E8DC48EC04}" presName="tx1" presStyleLbl="revTx" presStyleIdx="0" presStyleCnt="11"/>
      <dgm:spPr/>
    </dgm:pt>
    <dgm:pt modelId="{58DEDB51-5DB6-B742-886F-B5147BEC2B2F}" type="pres">
      <dgm:prSet presAssocID="{5CB291CD-C87A-4E73-A31F-A5E8DC48EC04}" presName="vert1" presStyleCnt="0"/>
      <dgm:spPr/>
    </dgm:pt>
    <dgm:pt modelId="{FD651937-64C1-1546-AC22-154371C37902}" type="pres">
      <dgm:prSet presAssocID="{36563EE1-3303-2E4E-95E5-5B45720A99FB}" presName="vertSpace2a" presStyleCnt="0"/>
      <dgm:spPr/>
    </dgm:pt>
    <dgm:pt modelId="{1FEB14AA-7674-D04C-AB1C-10521311891F}" type="pres">
      <dgm:prSet presAssocID="{36563EE1-3303-2E4E-95E5-5B45720A99FB}" presName="horz2" presStyleCnt="0"/>
      <dgm:spPr/>
    </dgm:pt>
    <dgm:pt modelId="{59B1789B-0C0C-2E48-8688-502A6C2CE76C}" type="pres">
      <dgm:prSet presAssocID="{36563EE1-3303-2E4E-95E5-5B45720A99FB}" presName="horzSpace2" presStyleCnt="0"/>
      <dgm:spPr/>
    </dgm:pt>
    <dgm:pt modelId="{EDE74150-452D-6345-A28A-B1E681340DDE}" type="pres">
      <dgm:prSet presAssocID="{36563EE1-3303-2E4E-95E5-5B45720A99FB}" presName="tx2" presStyleLbl="revTx" presStyleIdx="1" presStyleCnt="11"/>
      <dgm:spPr/>
    </dgm:pt>
    <dgm:pt modelId="{4827BB7F-B6DB-D14F-B7EB-EDA0291E076C}" type="pres">
      <dgm:prSet presAssocID="{36563EE1-3303-2E4E-95E5-5B45720A99FB}" presName="vert2" presStyleCnt="0"/>
      <dgm:spPr/>
    </dgm:pt>
    <dgm:pt modelId="{7AF1A5B2-1907-D349-A8E7-4E37AAAC76A8}" type="pres">
      <dgm:prSet presAssocID="{36563EE1-3303-2E4E-95E5-5B45720A99FB}" presName="thinLine2b" presStyleLbl="callout" presStyleIdx="0" presStyleCnt="8"/>
      <dgm:spPr/>
    </dgm:pt>
    <dgm:pt modelId="{71E95A65-A6F3-984B-BE94-A3497C33118F}" type="pres">
      <dgm:prSet presAssocID="{36563EE1-3303-2E4E-95E5-5B45720A99FB}" presName="vertSpace2b" presStyleCnt="0"/>
      <dgm:spPr/>
    </dgm:pt>
    <dgm:pt modelId="{CFF38E7A-4D48-DC43-9893-37D5E6D446CF}" type="pres">
      <dgm:prSet presAssocID="{3BC8AA73-9AAD-6D46-BC49-C8CF746D7D09}" presName="horz2" presStyleCnt="0"/>
      <dgm:spPr/>
    </dgm:pt>
    <dgm:pt modelId="{89C0151E-506D-9A48-834B-4D56066F0AEB}" type="pres">
      <dgm:prSet presAssocID="{3BC8AA73-9AAD-6D46-BC49-C8CF746D7D09}" presName="horzSpace2" presStyleCnt="0"/>
      <dgm:spPr/>
    </dgm:pt>
    <dgm:pt modelId="{1FC6FCCA-4555-F84C-8E0F-F51412FBB1F5}" type="pres">
      <dgm:prSet presAssocID="{3BC8AA73-9AAD-6D46-BC49-C8CF746D7D09}" presName="tx2" presStyleLbl="revTx" presStyleIdx="2" presStyleCnt="11"/>
      <dgm:spPr/>
    </dgm:pt>
    <dgm:pt modelId="{40A79B05-2C01-B146-95D0-E94E45B5811B}" type="pres">
      <dgm:prSet presAssocID="{3BC8AA73-9AAD-6D46-BC49-C8CF746D7D09}" presName="vert2" presStyleCnt="0"/>
      <dgm:spPr/>
    </dgm:pt>
    <dgm:pt modelId="{889FBEFA-D15D-234C-9FE9-CE6DCEA41A1E}" type="pres">
      <dgm:prSet presAssocID="{3BC8AA73-9AAD-6D46-BC49-C8CF746D7D09}" presName="thinLine2b" presStyleLbl="callout" presStyleIdx="1" presStyleCnt="8"/>
      <dgm:spPr/>
    </dgm:pt>
    <dgm:pt modelId="{4351AB2E-C235-214C-A0EC-3AFAB60779E4}" type="pres">
      <dgm:prSet presAssocID="{3BC8AA73-9AAD-6D46-BC49-C8CF746D7D09}" presName="vertSpace2b" presStyleCnt="0"/>
      <dgm:spPr/>
    </dgm:pt>
    <dgm:pt modelId="{8DA783BB-569C-3742-A2DA-8A1AF4C8B08B}" type="pres">
      <dgm:prSet presAssocID="{CBFE2EB8-BCBE-CC44-9DB8-93261C1A6DDD}" presName="horz2" presStyleCnt="0"/>
      <dgm:spPr/>
    </dgm:pt>
    <dgm:pt modelId="{1BE2BE06-DFB4-5E40-B04D-4076A9B9C129}" type="pres">
      <dgm:prSet presAssocID="{CBFE2EB8-BCBE-CC44-9DB8-93261C1A6DDD}" presName="horzSpace2" presStyleCnt="0"/>
      <dgm:spPr/>
    </dgm:pt>
    <dgm:pt modelId="{6CB1478E-1A6E-054E-83B3-2EBE2F462A72}" type="pres">
      <dgm:prSet presAssocID="{CBFE2EB8-BCBE-CC44-9DB8-93261C1A6DDD}" presName="tx2" presStyleLbl="revTx" presStyleIdx="3" presStyleCnt="11"/>
      <dgm:spPr/>
    </dgm:pt>
    <dgm:pt modelId="{239EAF4D-6187-4C44-9BA3-8667CCCFBBB0}" type="pres">
      <dgm:prSet presAssocID="{CBFE2EB8-BCBE-CC44-9DB8-93261C1A6DDD}" presName="vert2" presStyleCnt="0"/>
      <dgm:spPr/>
    </dgm:pt>
    <dgm:pt modelId="{43B6C156-A95A-7D4C-87B3-0BAB762A94BA}" type="pres">
      <dgm:prSet presAssocID="{CBFE2EB8-BCBE-CC44-9DB8-93261C1A6DDD}" presName="thinLine2b" presStyleLbl="callout" presStyleIdx="2" presStyleCnt="8"/>
      <dgm:spPr/>
    </dgm:pt>
    <dgm:pt modelId="{D6742AF0-4EBB-9E44-B75D-77FE2E50DAFD}" type="pres">
      <dgm:prSet presAssocID="{CBFE2EB8-BCBE-CC44-9DB8-93261C1A6DDD}" presName="vertSpace2b" presStyleCnt="0"/>
      <dgm:spPr/>
    </dgm:pt>
    <dgm:pt modelId="{DC544D88-027F-F447-9E3B-3D89A7EBDDBB}" type="pres">
      <dgm:prSet presAssocID="{08C977A2-63B8-4B43-8B78-7C35EB2906B0}" presName="horz2" presStyleCnt="0"/>
      <dgm:spPr/>
    </dgm:pt>
    <dgm:pt modelId="{AFBF4821-F227-AE41-B8C2-DF4984916F0E}" type="pres">
      <dgm:prSet presAssocID="{08C977A2-63B8-4B43-8B78-7C35EB2906B0}" presName="horzSpace2" presStyleCnt="0"/>
      <dgm:spPr/>
    </dgm:pt>
    <dgm:pt modelId="{65939D32-FDAC-FB45-8D18-EBAE5972AB6E}" type="pres">
      <dgm:prSet presAssocID="{08C977A2-63B8-4B43-8B78-7C35EB2906B0}" presName="tx2" presStyleLbl="revTx" presStyleIdx="4" presStyleCnt="11"/>
      <dgm:spPr/>
    </dgm:pt>
    <dgm:pt modelId="{D443F0CB-9C57-D94A-91B5-DCEBB0530135}" type="pres">
      <dgm:prSet presAssocID="{08C977A2-63B8-4B43-8B78-7C35EB2906B0}" presName="vert2" presStyleCnt="0"/>
      <dgm:spPr/>
    </dgm:pt>
    <dgm:pt modelId="{9D7A4277-19FF-3948-8827-56B00BF9DE8F}" type="pres">
      <dgm:prSet presAssocID="{08C977A2-63B8-4B43-8B78-7C35EB2906B0}" presName="thinLine2b" presStyleLbl="callout" presStyleIdx="3" presStyleCnt="8"/>
      <dgm:spPr/>
    </dgm:pt>
    <dgm:pt modelId="{9D29DD42-D075-5A4E-BD96-AE3F37A995CF}" type="pres">
      <dgm:prSet presAssocID="{08C977A2-63B8-4B43-8B78-7C35EB2906B0}" presName="vertSpace2b" presStyleCnt="0"/>
      <dgm:spPr/>
    </dgm:pt>
    <dgm:pt modelId="{677A7432-6742-BA49-A2F1-00C91D0F299D}" type="pres">
      <dgm:prSet presAssocID="{4412E678-8AFD-BC4D-BB2E-609D454463DF}" presName="thickLine" presStyleLbl="alignNode1" presStyleIdx="1" presStyleCnt="3"/>
      <dgm:spPr/>
    </dgm:pt>
    <dgm:pt modelId="{BF2E3FC7-0D98-5A4E-940B-7169AF3F5128}" type="pres">
      <dgm:prSet presAssocID="{4412E678-8AFD-BC4D-BB2E-609D454463DF}" presName="horz1" presStyleCnt="0"/>
      <dgm:spPr/>
    </dgm:pt>
    <dgm:pt modelId="{206E67F2-58CC-564C-ABC8-FA02B0DC9893}" type="pres">
      <dgm:prSet presAssocID="{4412E678-8AFD-BC4D-BB2E-609D454463DF}" presName="tx1" presStyleLbl="revTx" presStyleIdx="5" presStyleCnt="11"/>
      <dgm:spPr/>
    </dgm:pt>
    <dgm:pt modelId="{2566D32B-8A1B-7F45-9F2D-0D1DEBC9C1A5}" type="pres">
      <dgm:prSet presAssocID="{4412E678-8AFD-BC4D-BB2E-609D454463DF}" presName="vert1" presStyleCnt="0"/>
      <dgm:spPr/>
    </dgm:pt>
    <dgm:pt modelId="{1A9A01DC-03CC-7348-A3B1-8693325DF236}" type="pres">
      <dgm:prSet presAssocID="{519FFE5E-FC4C-1A4E-850F-73A03B0CF695}" presName="vertSpace2a" presStyleCnt="0"/>
      <dgm:spPr/>
    </dgm:pt>
    <dgm:pt modelId="{1C970351-553F-4943-975D-C12B9D196494}" type="pres">
      <dgm:prSet presAssocID="{519FFE5E-FC4C-1A4E-850F-73A03B0CF695}" presName="horz2" presStyleCnt="0"/>
      <dgm:spPr/>
    </dgm:pt>
    <dgm:pt modelId="{988AAF4A-CF4C-1041-B586-17613193BF0E}" type="pres">
      <dgm:prSet presAssocID="{519FFE5E-FC4C-1A4E-850F-73A03B0CF695}" presName="horzSpace2" presStyleCnt="0"/>
      <dgm:spPr/>
    </dgm:pt>
    <dgm:pt modelId="{198745F6-434D-EC40-9BEB-3A2D0D410B39}" type="pres">
      <dgm:prSet presAssocID="{519FFE5E-FC4C-1A4E-850F-73A03B0CF695}" presName="tx2" presStyleLbl="revTx" presStyleIdx="6" presStyleCnt="11"/>
      <dgm:spPr/>
    </dgm:pt>
    <dgm:pt modelId="{E1C508BC-414C-7743-B1D7-D321E19DFC7A}" type="pres">
      <dgm:prSet presAssocID="{519FFE5E-FC4C-1A4E-850F-73A03B0CF695}" presName="vert2" presStyleCnt="0"/>
      <dgm:spPr/>
    </dgm:pt>
    <dgm:pt modelId="{3DD48F21-5148-8446-84FB-F93917FFBBDB}" type="pres">
      <dgm:prSet presAssocID="{519FFE5E-FC4C-1A4E-850F-73A03B0CF695}" presName="thinLine2b" presStyleLbl="callout" presStyleIdx="4" presStyleCnt="8"/>
      <dgm:spPr/>
    </dgm:pt>
    <dgm:pt modelId="{3874897F-C44D-8640-8B18-E087135C195E}" type="pres">
      <dgm:prSet presAssocID="{519FFE5E-FC4C-1A4E-850F-73A03B0CF695}" presName="vertSpace2b" presStyleCnt="0"/>
      <dgm:spPr/>
    </dgm:pt>
    <dgm:pt modelId="{5400F4BD-1252-D34C-9566-2A0A859C9563}" type="pres">
      <dgm:prSet presAssocID="{89501325-8870-C54F-B6B5-A885FD16BBEF}" presName="thickLine" presStyleLbl="alignNode1" presStyleIdx="2" presStyleCnt="3"/>
      <dgm:spPr/>
    </dgm:pt>
    <dgm:pt modelId="{7DA73EA8-AFA7-134C-8FD9-262EDB42EA6A}" type="pres">
      <dgm:prSet presAssocID="{89501325-8870-C54F-B6B5-A885FD16BBEF}" presName="horz1" presStyleCnt="0"/>
      <dgm:spPr/>
    </dgm:pt>
    <dgm:pt modelId="{A8961A9E-A27B-434B-B919-1DCF3CE3DEF4}" type="pres">
      <dgm:prSet presAssocID="{89501325-8870-C54F-B6B5-A885FD16BBEF}" presName="tx1" presStyleLbl="revTx" presStyleIdx="7" presStyleCnt="11"/>
      <dgm:spPr/>
    </dgm:pt>
    <dgm:pt modelId="{B48DD9E8-07E6-AD4A-9966-6308FD3DD30E}" type="pres">
      <dgm:prSet presAssocID="{89501325-8870-C54F-B6B5-A885FD16BBEF}" presName="vert1" presStyleCnt="0"/>
      <dgm:spPr/>
    </dgm:pt>
    <dgm:pt modelId="{58EFF3C2-9A96-3942-846E-B4FF73A01996}" type="pres">
      <dgm:prSet presAssocID="{29031B73-D7D7-BE4A-B074-B47EC6150DC2}" presName="vertSpace2a" presStyleCnt="0"/>
      <dgm:spPr/>
    </dgm:pt>
    <dgm:pt modelId="{B88B614F-7B0C-B54E-A9A4-B0405C65932C}" type="pres">
      <dgm:prSet presAssocID="{29031B73-D7D7-BE4A-B074-B47EC6150DC2}" presName="horz2" presStyleCnt="0"/>
      <dgm:spPr/>
    </dgm:pt>
    <dgm:pt modelId="{EC3181A0-222B-134E-80AC-A9F99AF3DB7E}" type="pres">
      <dgm:prSet presAssocID="{29031B73-D7D7-BE4A-B074-B47EC6150DC2}" presName="horzSpace2" presStyleCnt="0"/>
      <dgm:spPr/>
    </dgm:pt>
    <dgm:pt modelId="{2B95B9A8-0C54-754F-8341-5BE5B2740281}" type="pres">
      <dgm:prSet presAssocID="{29031B73-D7D7-BE4A-B074-B47EC6150DC2}" presName="tx2" presStyleLbl="revTx" presStyleIdx="8" presStyleCnt="11"/>
      <dgm:spPr/>
    </dgm:pt>
    <dgm:pt modelId="{22283146-E1E0-B642-B592-5497582DFA5C}" type="pres">
      <dgm:prSet presAssocID="{29031B73-D7D7-BE4A-B074-B47EC6150DC2}" presName="vert2" presStyleCnt="0"/>
      <dgm:spPr/>
    </dgm:pt>
    <dgm:pt modelId="{2E0D7490-D9D8-0646-B41E-AA70AA155E81}" type="pres">
      <dgm:prSet presAssocID="{29031B73-D7D7-BE4A-B074-B47EC6150DC2}" presName="thinLine2b" presStyleLbl="callout" presStyleIdx="5" presStyleCnt="8"/>
      <dgm:spPr/>
    </dgm:pt>
    <dgm:pt modelId="{3A205ABE-0BAC-BD40-A381-101A1C7A3B2C}" type="pres">
      <dgm:prSet presAssocID="{29031B73-D7D7-BE4A-B074-B47EC6150DC2}" presName="vertSpace2b" presStyleCnt="0"/>
      <dgm:spPr/>
    </dgm:pt>
    <dgm:pt modelId="{D0355D0B-B77A-AC43-99F9-F2E7E1AAB831}" type="pres">
      <dgm:prSet presAssocID="{4C8BC0C8-BAB5-174D-B2BB-3F7A9AACDDA8}" presName="horz2" presStyleCnt="0"/>
      <dgm:spPr/>
    </dgm:pt>
    <dgm:pt modelId="{61495E61-D61A-F443-AC69-A5B1B961BB4E}" type="pres">
      <dgm:prSet presAssocID="{4C8BC0C8-BAB5-174D-B2BB-3F7A9AACDDA8}" presName="horzSpace2" presStyleCnt="0"/>
      <dgm:spPr/>
    </dgm:pt>
    <dgm:pt modelId="{9ADB3748-6365-494E-ADE0-1CC1FC708257}" type="pres">
      <dgm:prSet presAssocID="{4C8BC0C8-BAB5-174D-B2BB-3F7A9AACDDA8}" presName="tx2" presStyleLbl="revTx" presStyleIdx="9" presStyleCnt="11"/>
      <dgm:spPr/>
    </dgm:pt>
    <dgm:pt modelId="{02A159C8-E4C5-BA4B-9143-9615D7442CFC}" type="pres">
      <dgm:prSet presAssocID="{4C8BC0C8-BAB5-174D-B2BB-3F7A9AACDDA8}" presName="vert2" presStyleCnt="0"/>
      <dgm:spPr/>
    </dgm:pt>
    <dgm:pt modelId="{0A56D8DB-C951-C645-BAAC-B550996EF58B}" type="pres">
      <dgm:prSet presAssocID="{4C8BC0C8-BAB5-174D-B2BB-3F7A9AACDDA8}" presName="thinLine2b" presStyleLbl="callout" presStyleIdx="6" presStyleCnt="8"/>
      <dgm:spPr/>
    </dgm:pt>
    <dgm:pt modelId="{872923FF-5893-264B-A683-2A0BB9E7A0C5}" type="pres">
      <dgm:prSet presAssocID="{4C8BC0C8-BAB5-174D-B2BB-3F7A9AACDDA8}" presName="vertSpace2b" presStyleCnt="0"/>
      <dgm:spPr/>
    </dgm:pt>
    <dgm:pt modelId="{A68FCDB3-9BD1-D840-AF4F-663A1B70B17C}" type="pres">
      <dgm:prSet presAssocID="{1C92EF35-6C0E-6A4C-9CC9-77A559C89A2F}" presName="horz2" presStyleCnt="0"/>
      <dgm:spPr/>
    </dgm:pt>
    <dgm:pt modelId="{5FDCB08C-1CB4-2148-B5CA-48485B89B148}" type="pres">
      <dgm:prSet presAssocID="{1C92EF35-6C0E-6A4C-9CC9-77A559C89A2F}" presName="horzSpace2" presStyleCnt="0"/>
      <dgm:spPr/>
    </dgm:pt>
    <dgm:pt modelId="{C19B6D76-EAD3-7C4C-9916-1A05EBB1A8B1}" type="pres">
      <dgm:prSet presAssocID="{1C92EF35-6C0E-6A4C-9CC9-77A559C89A2F}" presName="tx2" presStyleLbl="revTx" presStyleIdx="10" presStyleCnt="11"/>
      <dgm:spPr/>
    </dgm:pt>
    <dgm:pt modelId="{C69BB0E1-C0DD-ED4E-92ED-0FC31B4F9EF5}" type="pres">
      <dgm:prSet presAssocID="{1C92EF35-6C0E-6A4C-9CC9-77A559C89A2F}" presName="vert2" presStyleCnt="0"/>
      <dgm:spPr/>
    </dgm:pt>
    <dgm:pt modelId="{E024E9B7-1739-6E4C-B30E-EF302D38C46B}" type="pres">
      <dgm:prSet presAssocID="{1C92EF35-6C0E-6A4C-9CC9-77A559C89A2F}" presName="thinLine2b" presStyleLbl="callout" presStyleIdx="7" presStyleCnt="8"/>
      <dgm:spPr/>
    </dgm:pt>
    <dgm:pt modelId="{7C23EF91-4B76-0B43-84B0-445E0F80626D}" type="pres">
      <dgm:prSet presAssocID="{1C92EF35-6C0E-6A4C-9CC9-77A559C89A2F}" presName="vertSpace2b" presStyleCnt="0"/>
      <dgm:spPr/>
    </dgm:pt>
  </dgm:ptLst>
  <dgm:cxnLst>
    <dgm:cxn modelId="{C8BF1404-11AF-480F-8668-46368F1D8C9B}" srcId="{7BC2DB20-EFFD-4E7B-93C1-553BACDC4218}" destId="{5CB291CD-C87A-4E73-A31F-A5E8DC48EC04}" srcOrd="0" destOrd="0" parTransId="{E99F5492-A06F-4526-99D6-3D5D0DAAB8D2}" sibTransId="{EB8001B5-1F3F-4B4C-99B7-5E44380F79E6}"/>
    <dgm:cxn modelId="{744AD923-5AC2-FF44-BF5A-4DA3DAC38D6E}" srcId="{5CB291CD-C87A-4E73-A31F-A5E8DC48EC04}" destId="{36563EE1-3303-2E4E-95E5-5B45720A99FB}" srcOrd="0" destOrd="0" parTransId="{F10C2558-B2A1-F546-9407-638C3A041175}" sibTransId="{6D3563EE-58B2-384B-82D4-175E1085DD0E}"/>
    <dgm:cxn modelId="{B29C4B2B-F8F8-6A49-8DE1-3EB042FFA0DE}" type="presOf" srcId="{4C8BC0C8-BAB5-174D-B2BB-3F7A9AACDDA8}" destId="{9ADB3748-6365-494E-ADE0-1CC1FC708257}" srcOrd="0" destOrd="0" presId="urn:microsoft.com/office/officeart/2008/layout/LinedList"/>
    <dgm:cxn modelId="{DE75D935-B678-5F4C-B8DB-EE63DF853A19}" srcId="{7BC2DB20-EFFD-4E7B-93C1-553BACDC4218}" destId="{89501325-8870-C54F-B6B5-A885FD16BBEF}" srcOrd="2" destOrd="0" parTransId="{93D6E320-AF8D-9340-BB75-B7591E0E03DC}" sibTransId="{56AA197C-3F9A-AC48-AF8D-D1B67C44781F}"/>
    <dgm:cxn modelId="{DE81263A-9DAF-0143-9A45-69DD9DE13205}" type="presOf" srcId="{89501325-8870-C54F-B6B5-A885FD16BBEF}" destId="{A8961A9E-A27B-434B-B919-1DCF3CE3DEF4}" srcOrd="0" destOrd="0" presId="urn:microsoft.com/office/officeart/2008/layout/LinedList"/>
    <dgm:cxn modelId="{09FFB93C-DA30-ED49-8983-3B6ED5C2AD94}" type="presOf" srcId="{519FFE5E-FC4C-1A4E-850F-73A03B0CF695}" destId="{198745F6-434D-EC40-9BEB-3A2D0D410B39}" srcOrd="0" destOrd="0" presId="urn:microsoft.com/office/officeart/2008/layout/LinedList"/>
    <dgm:cxn modelId="{941C6D3E-323D-D147-A80E-1D1E9C0A38F9}" srcId="{5CB291CD-C87A-4E73-A31F-A5E8DC48EC04}" destId="{3BC8AA73-9AAD-6D46-BC49-C8CF746D7D09}" srcOrd="1" destOrd="0" parTransId="{D922FE3D-A164-F34B-BE58-9BE4648B9C9C}" sibTransId="{056B8705-9E18-0245-95DD-43D8E23617CD}"/>
    <dgm:cxn modelId="{B6618F41-FA7C-7544-9466-A008892DB3CC}" type="presOf" srcId="{4412E678-8AFD-BC4D-BB2E-609D454463DF}" destId="{206E67F2-58CC-564C-ABC8-FA02B0DC9893}" srcOrd="0" destOrd="0" presId="urn:microsoft.com/office/officeart/2008/layout/LinedList"/>
    <dgm:cxn modelId="{0E29E649-FF8C-5543-9400-06474C444849}" srcId="{89501325-8870-C54F-B6B5-A885FD16BBEF}" destId="{29031B73-D7D7-BE4A-B074-B47EC6150DC2}" srcOrd="0" destOrd="0" parTransId="{00CFDA9C-7CF8-4244-9C9E-6B7FD0CD8CCA}" sibTransId="{263D7285-90AC-5B4F-BE83-C24BF43B0BB1}"/>
    <dgm:cxn modelId="{C860CF4D-0F23-4049-B68B-DA11B54F7DAC}" srcId="{4412E678-8AFD-BC4D-BB2E-609D454463DF}" destId="{519FFE5E-FC4C-1A4E-850F-73A03B0CF695}" srcOrd="0" destOrd="0" parTransId="{2A224B80-D8AA-4F4C-BB65-E625F6937F8D}" sibTransId="{7E1E5911-3A58-434C-9394-618A49AB72AD}"/>
    <dgm:cxn modelId="{8BCF4E6A-09F9-C242-94D6-F643F215803E}" srcId="{5CB291CD-C87A-4E73-A31F-A5E8DC48EC04}" destId="{08C977A2-63B8-4B43-8B78-7C35EB2906B0}" srcOrd="3" destOrd="0" parTransId="{FB524BEE-891C-6D4D-BCE8-3D3CE9D80DA9}" sibTransId="{5896DD0B-2B53-684B-A098-883823A659EB}"/>
    <dgm:cxn modelId="{3BA17584-70DE-BD4B-B214-269659BA8957}" type="presOf" srcId="{29031B73-D7D7-BE4A-B074-B47EC6150DC2}" destId="{2B95B9A8-0C54-754F-8341-5BE5B2740281}" srcOrd="0" destOrd="0" presId="urn:microsoft.com/office/officeart/2008/layout/LinedList"/>
    <dgm:cxn modelId="{3E4DB389-37FC-6842-9492-89273414535B}" type="presOf" srcId="{CBFE2EB8-BCBE-CC44-9DB8-93261C1A6DDD}" destId="{6CB1478E-1A6E-054E-83B3-2EBE2F462A72}" srcOrd="0" destOrd="0" presId="urn:microsoft.com/office/officeart/2008/layout/LinedList"/>
    <dgm:cxn modelId="{A9D85692-D2E2-624F-8CB5-FFBBE2AFB45B}" type="presOf" srcId="{1C92EF35-6C0E-6A4C-9CC9-77A559C89A2F}" destId="{C19B6D76-EAD3-7C4C-9916-1A05EBB1A8B1}" srcOrd="0" destOrd="0" presId="urn:microsoft.com/office/officeart/2008/layout/LinedList"/>
    <dgm:cxn modelId="{BB8A60C0-AF42-304A-97AB-C7006D0EA998}" type="presOf" srcId="{08C977A2-63B8-4B43-8B78-7C35EB2906B0}" destId="{65939D32-FDAC-FB45-8D18-EBAE5972AB6E}" srcOrd="0" destOrd="0" presId="urn:microsoft.com/office/officeart/2008/layout/LinedList"/>
    <dgm:cxn modelId="{B2805CC4-C777-B545-9105-F14BB97CBB3B}" srcId="{5CB291CD-C87A-4E73-A31F-A5E8DC48EC04}" destId="{CBFE2EB8-BCBE-CC44-9DB8-93261C1A6DDD}" srcOrd="2" destOrd="0" parTransId="{2956A96B-2A1F-024D-9A82-A1159A88558F}" sibTransId="{F4D4253A-0602-0046-A5C6-B69B94C2812E}"/>
    <dgm:cxn modelId="{1C5CA9C5-A73F-9843-A0CA-951C9A1C073B}" type="presOf" srcId="{3BC8AA73-9AAD-6D46-BC49-C8CF746D7D09}" destId="{1FC6FCCA-4555-F84C-8E0F-F51412FBB1F5}" srcOrd="0" destOrd="0" presId="urn:microsoft.com/office/officeart/2008/layout/LinedList"/>
    <dgm:cxn modelId="{110AFDC9-ECC6-0A47-B902-386EAED023C6}" type="presOf" srcId="{36563EE1-3303-2E4E-95E5-5B45720A99FB}" destId="{EDE74150-452D-6345-A28A-B1E681340DDE}" srcOrd="0" destOrd="0" presId="urn:microsoft.com/office/officeart/2008/layout/LinedList"/>
    <dgm:cxn modelId="{0FFAAACA-7512-CD49-9BF7-C3976CF2B744}" type="presOf" srcId="{5CB291CD-C87A-4E73-A31F-A5E8DC48EC04}" destId="{A4E0ECE1-AE74-FF4B-BF91-3B800CC7CE11}" srcOrd="0" destOrd="0" presId="urn:microsoft.com/office/officeart/2008/layout/LinedList"/>
    <dgm:cxn modelId="{84921AD3-F4A6-D641-B9BB-C03AD367006D}" srcId="{7BC2DB20-EFFD-4E7B-93C1-553BACDC4218}" destId="{4412E678-8AFD-BC4D-BB2E-609D454463DF}" srcOrd="1" destOrd="0" parTransId="{DE67A28B-7D5F-234F-9427-B10541490790}" sibTransId="{5F875547-B571-3A4A-BE88-FB380EB6FEEC}"/>
    <dgm:cxn modelId="{CAACDCD4-8C4F-B547-9F6D-861386180F0F}" srcId="{89501325-8870-C54F-B6B5-A885FD16BBEF}" destId="{1C92EF35-6C0E-6A4C-9CC9-77A559C89A2F}" srcOrd="2" destOrd="0" parTransId="{8D402EAA-A048-AB4C-8402-38B7328A0699}" sibTransId="{4B2BC294-1386-9645-BC97-166A46B66FDA}"/>
    <dgm:cxn modelId="{10725EE1-334A-9D49-9825-F354ABB53B1D}" srcId="{89501325-8870-C54F-B6B5-A885FD16BBEF}" destId="{4C8BC0C8-BAB5-174D-B2BB-3F7A9AACDDA8}" srcOrd="1" destOrd="0" parTransId="{C9D31C8A-8059-F348-BCA2-3848FDAE265A}" sibTransId="{45527631-63F3-F342-8CD8-31A933BC9A5E}"/>
    <dgm:cxn modelId="{B419DAFE-8DE3-6F4B-A5B3-6BA61529DA87}" type="presOf" srcId="{7BC2DB20-EFFD-4E7B-93C1-553BACDC4218}" destId="{69612332-6497-F446-98E5-37FF416D1DF4}" srcOrd="0" destOrd="0" presId="urn:microsoft.com/office/officeart/2008/layout/LinedList"/>
    <dgm:cxn modelId="{266F717E-5BAC-1446-AFA6-46585B0B67E3}" type="presParOf" srcId="{69612332-6497-F446-98E5-37FF416D1DF4}" destId="{23C8A850-5CD7-4D40-A17D-7CD80AD51C6A}" srcOrd="0" destOrd="0" presId="urn:microsoft.com/office/officeart/2008/layout/LinedList"/>
    <dgm:cxn modelId="{D0C2C079-50F8-6241-9AA2-DF97A3E20D42}" type="presParOf" srcId="{69612332-6497-F446-98E5-37FF416D1DF4}" destId="{B724CA23-3BC5-184A-9949-10C8DA07BACE}" srcOrd="1" destOrd="0" presId="urn:microsoft.com/office/officeart/2008/layout/LinedList"/>
    <dgm:cxn modelId="{A0BE7866-6008-BF45-AE54-4551C9940FDE}" type="presParOf" srcId="{B724CA23-3BC5-184A-9949-10C8DA07BACE}" destId="{A4E0ECE1-AE74-FF4B-BF91-3B800CC7CE11}" srcOrd="0" destOrd="0" presId="urn:microsoft.com/office/officeart/2008/layout/LinedList"/>
    <dgm:cxn modelId="{40063A48-FACD-2D49-9B5B-8D74C23BB4DF}" type="presParOf" srcId="{B724CA23-3BC5-184A-9949-10C8DA07BACE}" destId="{58DEDB51-5DB6-B742-886F-B5147BEC2B2F}" srcOrd="1" destOrd="0" presId="urn:microsoft.com/office/officeart/2008/layout/LinedList"/>
    <dgm:cxn modelId="{2580C18F-2BD2-0148-B0CC-FB1250762499}" type="presParOf" srcId="{58DEDB51-5DB6-B742-886F-B5147BEC2B2F}" destId="{FD651937-64C1-1546-AC22-154371C37902}" srcOrd="0" destOrd="0" presId="urn:microsoft.com/office/officeart/2008/layout/LinedList"/>
    <dgm:cxn modelId="{8B575A7B-F659-984F-A60C-FFA14A314782}" type="presParOf" srcId="{58DEDB51-5DB6-B742-886F-B5147BEC2B2F}" destId="{1FEB14AA-7674-D04C-AB1C-10521311891F}" srcOrd="1" destOrd="0" presId="urn:microsoft.com/office/officeart/2008/layout/LinedList"/>
    <dgm:cxn modelId="{CFEC4056-FA31-A444-B1E4-0341BB7024CC}" type="presParOf" srcId="{1FEB14AA-7674-D04C-AB1C-10521311891F}" destId="{59B1789B-0C0C-2E48-8688-502A6C2CE76C}" srcOrd="0" destOrd="0" presId="urn:microsoft.com/office/officeart/2008/layout/LinedList"/>
    <dgm:cxn modelId="{0BB966EB-466C-0943-B235-E34B14A34E42}" type="presParOf" srcId="{1FEB14AA-7674-D04C-AB1C-10521311891F}" destId="{EDE74150-452D-6345-A28A-B1E681340DDE}" srcOrd="1" destOrd="0" presId="urn:microsoft.com/office/officeart/2008/layout/LinedList"/>
    <dgm:cxn modelId="{7429AEC8-8DA3-B949-8467-F3D6BAC04B46}" type="presParOf" srcId="{1FEB14AA-7674-D04C-AB1C-10521311891F}" destId="{4827BB7F-B6DB-D14F-B7EB-EDA0291E076C}" srcOrd="2" destOrd="0" presId="urn:microsoft.com/office/officeart/2008/layout/LinedList"/>
    <dgm:cxn modelId="{E153125D-D84B-A446-9F3C-D782CE1E01FE}" type="presParOf" srcId="{58DEDB51-5DB6-B742-886F-B5147BEC2B2F}" destId="{7AF1A5B2-1907-D349-A8E7-4E37AAAC76A8}" srcOrd="2" destOrd="0" presId="urn:microsoft.com/office/officeart/2008/layout/LinedList"/>
    <dgm:cxn modelId="{D2B68ABB-39D3-9D42-8526-9A067628D02E}" type="presParOf" srcId="{58DEDB51-5DB6-B742-886F-B5147BEC2B2F}" destId="{71E95A65-A6F3-984B-BE94-A3497C33118F}" srcOrd="3" destOrd="0" presId="urn:microsoft.com/office/officeart/2008/layout/LinedList"/>
    <dgm:cxn modelId="{273C519C-8378-9148-99D2-3AB57A061415}" type="presParOf" srcId="{58DEDB51-5DB6-B742-886F-B5147BEC2B2F}" destId="{CFF38E7A-4D48-DC43-9893-37D5E6D446CF}" srcOrd="4" destOrd="0" presId="urn:microsoft.com/office/officeart/2008/layout/LinedList"/>
    <dgm:cxn modelId="{1719011B-5ABF-704B-BBAD-085482182499}" type="presParOf" srcId="{CFF38E7A-4D48-DC43-9893-37D5E6D446CF}" destId="{89C0151E-506D-9A48-834B-4D56066F0AEB}" srcOrd="0" destOrd="0" presId="urn:microsoft.com/office/officeart/2008/layout/LinedList"/>
    <dgm:cxn modelId="{207D2961-8F26-4243-84B8-888F56DCCA94}" type="presParOf" srcId="{CFF38E7A-4D48-DC43-9893-37D5E6D446CF}" destId="{1FC6FCCA-4555-F84C-8E0F-F51412FBB1F5}" srcOrd="1" destOrd="0" presId="urn:microsoft.com/office/officeart/2008/layout/LinedList"/>
    <dgm:cxn modelId="{61A7C93F-2D1B-D64D-B144-C3737D34CA74}" type="presParOf" srcId="{CFF38E7A-4D48-DC43-9893-37D5E6D446CF}" destId="{40A79B05-2C01-B146-95D0-E94E45B5811B}" srcOrd="2" destOrd="0" presId="urn:microsoft.com/office/officeart/2008/layout/LinedList"/>
    <dgm:cxn modelId="{6363B6D4-76CD-E44B-B9F6-DD4817AFACAC}" type="presParOf" srcId="{58DEDB51-5DB6-B742-886F-B5147BEC2B2F}" destId="{889FBEFA-D15D-234C-9FE9-CE6DCEA41A1E}" srcOrd="5" destOrd="0" presId="urn:microsoft.com/office/officeart/2008/layout/LinedList"/>
    <dgm:cxn modelId="{4B869506-729D-E24A-BBD1-4F4D94935F9A}" type="presParOf" srcId="{58DEDB51-5DB6-B742-886F-B5147BEC2B2F}" destId="{4351AB2E-C235-214C-A0EC-3AFAB60779E4}" srcOrd="6" destOrd="0" presId="urn:microsoft.com/office/officeart/2008/layout/LinedList"/>
    <dgm:cxn modelId="{69F99E5E-364A-0E40-BEE3-4D7B9C89DB49}" type="presParOf" srcId="{58DEDB51-5DB6-B742-886F-B5147BEC2B2F}" destId="{8DA783BB-569C-3742-A2DA-8A1AF4C8B08B}" srcOrd="7" destOrd="0" presId="urn:microsoft.com/office/officeart/2008/layout/LinedList"/>
    <dgm:cxn modelId="{813D09E8-3389-CD40-A8F8-DA02B61340F2}" type="presParOf" srcId="{8DA783BB-569C-3742-A2DA-8A1AF4C8B08B}" destId="{1BE2BE06-DFB4-5E40-B04D-4076A9B9C129}" srcOrd="0" destOrd="0" presId="urn:microsoft.com/office/officeart/2008/layout/LinedList"/>
    <dgm:cxn modelId="{BCB5BCC9-6BE5-4E49-BC36-011EE85EBC6B}" type="presParOf" srcId="{8DA783BB-569C-3742-A2DA-8A1AF4C8B08B}" destId="{6CB1478E-1A6E-054E-83B3-2EBE2F462A72}" srcOrd="1" destOrd="0" presId="urn:microsoft.com/office/officeart/2008/layout/LinedList"/>
    <dgm:cxn modelId="{DA4B0A07-9E54-9345-8465-53531D7DB25E}" type="presParOf" srcId="{8DA783BB-569C-3742-A2DA-8A1AF4C8B08B}" destId="{239EAF4D-6187-4C44-9BA3-8667CCCFBBB0}" srcOrd="2" destOrd="0" presId="urn:microsoft.com/office/officeart/2008/layout/LinedList"/>
    <dgm:cxn modelId="{837AF95D-0B73-AA44-9A6D-B2A481C57598}" type="presParOf" srcId="{58DEDB51-5DB6-B742-886F-B5147BEC2B2F}" destId="{43B6C156-A95A-7D4C-87B3-0BAB762A94BA}" srcOrd="8" destOrd="0" presId="urn:microsoft.com/office/officeart/2008/layout/LinedList"/>
    <dgm:cxn modelId="{B27C6F8B-9651-0E48-98F6-A3182CABE1A2}" type="presParOf" srcId="{58DEDB51-5DB6-B742-886F-B5147BEC2B2F}" destId="{D6742AF0-4EBB-9E44-B75D-77FE2E50DAFD}" srcOrd="9" destOrd="0" presId="urn:microsoft.com/office/officeart/2008/layout/LinedList"/>
    <dgm:cxn modelId="{34744CCB-E16D-D341-8065-58170E27715D}" type="presParOf" srcId="{58DEDB51-5DB6-B742-886F-B5147BEC2B2F}" destId="{DC544D88-027F-F447-9E3B-3D89A7EBDDBB}" srcOrd="10" destOrd="0" presId="urn:microsoft.com/office/officeart/2008/layout/LinedList"/>
    <dgm:cxn modelId="{C636EBC6-A7AF-054A-8A84-ED2BBC56350C}" type="presParOf" srcId="{DC544D88-027F-F447-9E3B-3D89A7EBDDBB}" destId="{AFBF4821-F227-AE41-B8C2-DF4984916F0E}" srcOrd="0" destOrd="0" presId="urn:microsoft.com/office/officeart/2008/layout/LinedList"/>
    <dgm:cxn modelId="{6FB52F10-0841-E64A-8042-C3A7EDDBDE3C}" type="presParOf" srcId="{DC544D88-027F-F447-9E3B-3D89A7EBDDBB}" destId="{65939D32-FDAC-FB45-8D18-EBAE5972AB6E}" srcOrd="1" destOrd="0" presId="urn:microsoft.com/office/officeart/2008/layout/LinedList"/>
    <dgm:cxn modelId="{62B80F91-DB2A-A049-B0A2-D52B19892781}" type="presParOf" srcId="{DC544D88-027F-F447-9E3B-3D89A7EBDDBB}" destId="{D443F0CB-9C57-D94A-91B5-DCEBB0530135}" srcOrd="2" destOrd="0" presId="urn:microsoft.com/office/officeart/2008/layout/LinedList"/>
    <dgm:cxn modelId="{58E048E7-5832-DA43-8057-E6821E0EC154}" type="presParOf" srcId="{58DEDB51-5DB6-B742-886F-B5147BEC2B2F}" destId="{9D7A4277-19FF-3948-8827-56B00BF9DE8F}" srcOrd="11" destOrd="0" presId="urn:microsoft.com/office/officeart/2008/layout/LinedList"/>
    <dgm:cxn modelId="{6091B72F-EF23-0141-8C76-07517B00B9CB}" type="presParOf" srcId="{58DEDB51-5DB6-B742-886F-B5147BEC2B2F}" destId="{9D29DD42-D075-5A4E-BD96-AE3F37A995CF}" srcOrd="12" destOrd="0" presId="urn:microsoft.com/office/officeart/2008/layout/LinedList"/>
    <dgm:cxn modelId="{EBA649A9-F0A7-5548-8266-31F5793A88AA}" type="presParOf" srcId="{69612332-6497-F446-98E5-37FF416D1DF4}" destId="{677A7432-6742-BA49-A2F1-00C91D0F299D}" srcOrd="2" destOrd="0" presId="urn:microsoft.com/office/officeart/2008/layout/LinedList"/>
    <dgm:cxn modelId="{0D0541B6-3F90-034E-9A1C-C2A72CC58429}" type="presParOf" srcId="{69612332-6497-F446-98E5-37FF416D1DF4}" destId="{BF2E3FC7-0D98-5A4E-940B-7169AF3F5128}" srcOrd="3" destOrd="0" presId="urn:microsoft.com/office/officeart/2008/layout/LinedList"/>
    <dgm:cxn modelId="{A956EAD4-3102-6D41-AA1E-19DF3C610972}" type="presParOf" srcId="{BF2E3FC7-0D98-5A4E-940B-7169AF3F5128}" destId="{206E67F2-58CC-564C-ABC8-FA02B0DC9893}" srcOrd="0" destOrd="0" presId="urn:microsoft.com/office/officeart/2008/layout/LinedList"/>
    <dgm:cxn modelId="{A05DA496-C071-EF44-A61A-19DF135EA923}" type="presParOf" srcId="{BF2E3FC7-0D98-5A4E-940B-7169AF3F5128}" destId="{2566D32B-8A1B-7F45-9F2D-0D1DEBC9C1A5}" srcOrd="1" destOrd="0" presId="urn:microsoft.com/office/officeart/2008/layout/LinedList"/>
    <dgm:cxn modelId="{E12797B1-9291-AE4E-824B-99098BCDAE5F}" type="presParOf" srcId="{2566D32B-8A1B-7F45-9F2D-0D1DEBC9C1A5}" destId="{1A9A01DC-03CC-7348-A3B1-8693325DF236}" srcOrd="0" destOrd="0" presId="urn:microsoft.com/office/officeart/2008/layout/LinedList"/>
    <dgm:cxn modelId="{22D03A07-469D-6C44-8DB3-8EF2A5EF9273}" type="presParOf" srcId="{2566D32B-8A1B-7F45-9F2D-0D1DEBC9C1A5}" destId="{1C970351-553F-4943-975D-C12B9D196494}" srcOrd="1" destOrd="0" presId="urn:microsoft.com/office/officeart/2008/layout/LinedList"/>
    <dgm:cxn modelId="{9BEA3BD7-60F3-9E49-8B8F-99B69CD827F5}" type="presParOf" srcId="{1C970351-553F-4943-975D-C12B9D196494}" destId="{988AAF4A-CF4C-1041-B586-17613193BF0E}" srcOrd="0" destOrd="0" presId="urn:microsoft.com/office/officeart/2008/layout/LinedList"/>
    <dgm:cxn modelId="{59BFFE19-FC91-7645-B199-478A2AF00D4E}" type="presParOf" srcId="{1C970351-553F-4943-975D-C12B9D196494}" destId="{198745F6-434D-EC40-9BEB-3A2D0D410B39}" srcOrd="1" destOrd="0" presId="urn:microsoft.com/office/officeart/2008/layout/LinedList"/>
    <dgm:cxn modelId="{23F14D2D-E44C-C849-9D59-2B53134F4FFE}" type="presParOf" srcId="{1C970351-553F-4943-975D-C12B9D196494}" destId="{E1C508BC-414C-7743-B1D7-D321E19DFC7A}" srcOrd="2" destOrd="0" presId="urn:microsoft.com/office/officeart/2008/layout/LinedList"/>
    <dgm:cxn modelId="{1621E993-C768-4246-8069-1C9C5B906EFA}" type="presParOf" srcId="{2566D32B-8A1B-7F45-9F2D-0D1DEBC9C1A5}" destId="{3DD48F21-5148-8446-84FB-F93917FFBBDB}" srcOrd="2" destOrd="0" presId="urn:microsoft.com/office/officeart/2008/layout/LinedList"/>
    <dgm:cxn modelId="{D356B469-FFA3-174D-AA32-3E57080D9124}" type="presParOf" srcId="{2566D32B-8A1B-7F45-9F2D-0D1DEBC9C1A5}" destId="{3874897F-C44D-8640-8B18-E087135C195E}" srcOrd="3" destOrd="0" presId="urn:microsoft.com/office/officeart/2008/layout/LinedList"/>
    <dgm:cxn modelId="{8EC72705-507A-D54F-BDFD-73D6FC668761}" type="presParOf" srcId="{69612332-6497-F446-98E5-37FF416D1DF4}" destId="{5400F4BD-1252-D34C-9566-2A0A859C9563}" srcOrd="4" destOrd="0" presId="urn:microsoft.com/office/officeart/2008/layout/LinedList"/>
    <dgm:cxn modelId="{30258C50-41F5-A84A-A763-174F23A07119}" type="presParOf" srcId="{69612332-6497-F446-98E5-37FF416D1DF4}" destId="{7DA73EA8-AFA7-134C-8FD9-262EDB42EA6A}" srcOrd="5" destOrd="0" presId="urn:microsoft.com/office/officeart/2008/layout/LinedList"/>
    <dgm:cxn modelId="{F7B78D9B-F7A0-AE4A-AC1A-6D7CF0F3305D}" type="presParOf" srcId="{7DA73EA8-AFA7-134C-8FD9-262EDB42EA6A}" destId="{A8961A9E-A27B-434B-B919-1DCF3CE3DEF4}" srcOrd="0" destOrd="0" presId="urn:microsoft.com/office/officeart/2008/layout/LinedList"/>
    <dgm:cxn modelId="{55FAE88B-0646-A64E-86F1-F254EF4E8C2B}" type="presParOf" srcId="{7DA73EA8-AFA7-134C-8FD9-262EDB42EA6A}" destId="{B48DD9E8-07E6-AD4A-9966-6308FD3DD30E}" srcOrd="1" destOrd="0" presId="urn:microsoft.com/office/officeart/2008/layout/LinedList"/>
    <dgm:cxn modelId="{041705BB-C663-0943-B126-B3A173EB5B19}" type="presParOf" srcId="{B48DD9E8-07E6-AD4A-9966-6308FD3DD30E}" destId="{58EFF3C2-9A96-3942-846E-B4FF73A01996}" srcOrd="0" destOrd="0" presId="urn:microsoft.com/office/officeart/2008/layout/LinedList"/>
    <dgm:cxn modelId="{680C0B8B-EEAA-9746-A11A-44FB9D707EBB}" type="presParOf" srcId="{B48DD9E8-07E6-AD4A-9966-6308FD3DD30E}" destId="{B88B614F-7B0C-B54E-A9A4-B0405C65932C}" srcOrd="1" destOrd="0" presId="urn:microsoft.com/office/officeart/2008/layout/LinedList"/>
    <dgm:cxn modelId="{095DD2FF-679C-504E-9063-EE9F96CF7D9B}" type="presParOf" srcId="{B88B614F-7B0C-B54E-A9A4-B0405C65932C}" destId="{EC3181A0-222B-134E-80AC-A9F99AF3DB7E}" srcOrd="0" destOrd="0" presId="urn:microsoft.com/office/officeart/2008/layout/LinedList"/>
    <dgm:cxn modelId="{CC81D93F-15FF-224F-AD91-578F2F8A341E}" type="presParOf" srcId="{B88B614F-7B0C-B54E-A9A4-B0405C65932C}" destId="{2B95B9A8-0C54-754F-8341-5BE5B2740281}" srcOrd="1" destOrd="0" presId="urn:microsoft.com/office/officeart/2008/layout/LinedList"/>
    <dgm:cxn modelId="{23F9BA64-D5D4-BC49-A053-81C74CB50B4B}" type="presParOf" srcId="{B88B614F-7B0C-B54E-A9A4-B0405C65932C}" destId="{22283146-E1E0-B642-B592-5497582DFA5C}" srcOrd="2" destOrd="0" presId="urn:microsoft.com/office/officeart/2008/layout/LinedList"/>
    <dgm:cxn modelId="{30063183-B4CD-0545-8A2F-6380CFCC2376}" type="presParOf" srcId="{B48DD9E8-07E6-AD4A-9966-6308FD3DD30E}" destId="{2E0D7490-D9D8-0646-B41E-AA70AA155E81}" srcOrd="2" destOrd="0" presId="urn:microsoft.com/office/officeart/2008/layout/LinedList"/>
    <dgm:cxn modelId="{D9965BDD-8A25-AB43-B037-BF2A94A8F5D7}" type="presParOf" srcId="{B48DD9E8-07E6-AD4A-9966-6308FD3DD30E}" destId="{3A205ABE-0BAC-BD40-A381-101A1C7A3B2C}" srcOrd="3" destOrd="0" presId="urn:microsoft.com/office/officeart/2008/layout/LinedList"/>
    <dgm:cxn modelId="{94805501-BBB8-0F41-A986-C51A72F4993C}" type="presParOf" srcId="{B48DD9E8-07E6-AD4A-9966-6308FD3DD30E}" destId="{D0355D0B-B77A-AC43-99F9-F2E7E1AAB831}" srcOrd="4" destOrd="0" presId="urn:microsoft.com/office/officeart/2008/layout/LinedList"/>
    <dgm:cxn modelId="{D7B6B3CF-6BB1-4E4B-B1A9-757AABEFAEE6}" type="presParOf" srcId="{D0355D0B-B77A-AC43-99F9-F2E7E1AAB831}" destId="{61495E61-D61A-F443-AC69-A5B1B961BB4E}" srcOrd="0" destOrd="0" presId="urn:microsoft.com/office/officeart/2008/layout/LinedList"/>
    <dgm:cxn modelId="{0EBF4921-E2B0-7D42-9F7A-BB80EE3B2B7A}" type="presParOf" srcId="{D0355D0B-B77A-AC43-99F9-F2E7E1AAB831}" destId="{9ADB3748-6365-494E-ADE0-1CC1FC708257}" srcOrd="1" destOrd="0" presId="urn:microsoft.com/office/officeart/2008/layout/LinedList"/>
    <dgm:cxn modelId="{76048961-5093-3745-8F1A-318F9C78EED4}" type="presParOf" srcId="{D0355D0B-B77A-AC43-99F9-F2E7E1AAB831}" destId="{02A159C8-E4C5-BA4B-9143-9615D7442CFC}" srcOrd="2" destOrd="0" presId="urn:microsoft.com/office/officeart/2008/layout/LinedList"/>
    <dgm:cxn modelId="{E9F7F853-F6EA-BF49-9C8E-A2E57C827E3F}" type="presParOf" srcId="{B48DD9E8-07E6-AD4A-9966-6308FD3DD30E}" destId="{0A56D8DB-C951-C645-BAAC-B550996EF58B}" srcOrd="5" destOrd="0" presId="urn:microsoft.com/office/officeart/2008/layout/LinedList"/>
    <dgm:cxn modelId="{88BB1A94-7FB8-D341-81C3-EC0E511129AC}" type="presParOf" srcId="{B48DD9E8-07E6-AD4A-9966-6308FD3DD30E}" destId="{872923FF-5893-264B-A683-2A0BB9E7A0C5}" srcOrd="6" destOrd="0" presId="urn:microsoft.com/office/officeart/2008/layout/LinedList"/>
    <dgm:cxn modelId="{4AC5520F-00C0-2042-9F64-FB339B729FA9}" type="presParOf" srcId="{B48DD9E8-07E6-AD4A-9966-6308FD3DD30E}" destId="{A68FCDB3-9BD1-D840-AF4F-663A1B70B17C}" srcOrd="7" destOrd="0" presId="urn:microsoft.com/office/officeart/2008/layout/LinedList"/>
    <dgm:cxn modelId="{3117B49A-7BCD-4C4D-8702-B35287473210}" type="presParOf" srcId="{A68FCDB3-9BD1-D840-AF4F-663A1B70B17C}" destId="{5FDCB08C-1CB4-2148-B5CA-48485B89B148}" srcOrd="0" destOrd="0" presId="urn:microsoft.com/office/officeart/2008/layout/LinedList"/>
    <dgm:cxn modelId="{65FA86BE-F1C5-AE43-82A7-C7B81EBE7585}" type="presParOf" srcId="{A68FCDB3-9BD1-D840-AF4F-663A1B70B17C}" destId="{C19B6D76-EAD3-7C4C-9916-1A05EBB1A8B1}" srcOrd="1" destOrd="0" presId="urn:microsoft.com/office/officeart/2008/layout/LinedList"/>
    <dgm:cxn modelId="{4776B51B-29B8-5147-B923-85E2DF05D06E}" type="presParOf" srcId="{A68FCDB3-9BD1-D840-AF4F-663A1B70B17C}" destId="{C69BB0E1-C0DD-ED4E-92ED-0FC31B4F9EF5}" srcOrd="2" destOrd="0" presId="urn:microsoft.com/office/officeart/2008/layout/LinedList"/>
    <dgm:cxn modelId="{5A00D443-7620-7843-826B-88AFB0A566DB}" type="presParOf" srcId="{B48DD9E8-07E6-AD4A-9966-6308FD3DD30E}" destId="{E024E9B7-1739-6E4C-B30E-EF302D38C46B}" srcOrd="8" destOrd="0" presId="urn:microsoft.com/office/officeart/2008/layout/LinedList"/>
    <dgm:cxn modelId="{08C26CCA-0499-2141-A568-A5431A860105}" type="presParOf" srcId="{B48DD9E8-07E6-AD4A-9966-6308FD3DD30E}" destId="{7C23EF91-4B76-0B43-84B0-445E0F80626D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BC2DB20-EFFD-4E7B-93C1-553BACDC4218}" type="doc">
      <dgm:prSet loTypeId="urn:microsoft.com/office/officeart/2008/layout/LinedList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B291CD-C87A-4E73-A31F-A5E8DC48EC04}">
      <dgm:prSet/>
      <dgm:spPr/>
      <dgm:t>
        <a:bodyPr/>
        <a:lstStyle/>
        <a:p>
          <a:r>
            <a:rPr lang="en-US" dirty="0"/>
            <a:t>About the CRA</a:t>
          </a:r>
        </a:p>
      </dgm:t>
    </dgm:pt>
    <dgm:pt modelId="{E99F5492-A06F-4526-99D6-3D5D0DAAB8D2}" type="parTrans" cxnId="{C8BF1404-11AF-480F-8668-46368F1D8C9B}">
      <dgm:prSet/>
      <dgm:spPr/>
      <dgm:t>
        <a:bodyPr/>
        <a:lstStyle/>
        <a:p>
          <a:endParaRPr lang="en-US"/>
        </a:p>
      </dgm:t>
    </dgm:pt>
    <dgm:pt modelId="{EB8001B5-1F3F-4B4C-99B7-5E44380F79E6}" type="sibTrans" cxnId="{C8BF1404-11AF-480F-8668-46368F1D8C9B}">
      <dgm:prSet/>
      <dgm:spPr/>
      <dgm:t>
        <a:bodyPr/>
        <a:lstStyle/>
        <a:p>
          <a:endParaRPr lang="en-US"/>
        </a:p>
      </dgm:t>
    </dgm:pt>
    <dgm:pt modelId="{36563EE1-3303-2E4E-95E5-5B45720A99FB}">
      <dgm:prSet/>
      <dgm:spPr/>
      <dgm:t>
        <a:bodyPr/>
        <a:lstStyle/>
        <a:p>
          <a:r>
            <a:rPr lang="en-US" dirty="0"/>
            <a:t>Administer tax, benefits &amp; programs</a:t>
          </a:r>
        </a:p>
      </dgm:t>
    </dgm:pt>
    <dgm:pt modelId="{F10C2558-B2A1-F546-9407-638C3A041175}" type="parTrans" cxnId="{744AD923-5AC2-FF44-BF5A-4DA3DAC38D6E}">
      <dgm:prSet/>
      <dgm:spPr/>
      <dgm:t>
        <a:bodyPr/>
        <a:lstStyle/>
        <a:p>
          <a:endParaRPr lang="en-CA"/>
        </a:p>
      </dgm:t>
    </dgm:pt>
    <dgm:pt modelId="{6D3563EE-58B2-384B-82D4-175E1085DD0E}" type="sibTrans" cxnId="{744AD923-5AC2-FF44-BF5A-4DA3DAC38D6E}">
      <dgm:prSet/>
      <dgm:spPr/>
      <dgm:t>
        <a:bodyPr/>
        <a:lstStyle/>
        <a:p>
          <a:endParaRPr lang="en-CA"/>
        </a:p>
      </dgm:t>
    </dgm:pt>
    <dgm:pt modelId="{4E5DBD65-3BE7-1846-A98B-190CFAD32DB4}">
      <dgm:prSet/>
      <dgm:spPr/>
      <dgm:t>
        <a:bodyPr/>
        <a:lstStyle/>
        <a:p>
          <a:r>
            <a:rPr lang="en-US" dirty="0"/>
            <a:t>CRA website</a:t>
          </a:r>
        </a:p>
      </dgm:t>
    </dgm:pt>
    <dgm:pt modelId="{ED90EE24-02A9-2947-9DD3-48C92FE24D49}" type="parTrans" cxnId="{44CD8C71-1CF8-5C4A-BF62-2469C298A83B}">
      <dgm:prSet/>
      <dgm:spPr/>
      <dgm:t>
        <a:bodyPr/>
        <a:lstStyle/>
        <a:p>
          <a:endParaRPr lang="en-CA"/>
        </a:p>
      </dgm:t>
    </dgm:pt>
    <dgm:pt modelId="{7CE57DF0-1362-EE4E-BD5F-85BD287B4FB4}" type="sibTrans" cxnId="{44CD8C71-1CF8-5C4A-BF62-2469C298A83B}">
      <dgm:prSet/>
      <dgm:spPr/>
      <dgm:t>
        <a:bodyPr/>
        <a:lstStyle/>
        <a:p>
          <a:endParaRPr lang="en-CA"/>
        </a:p>
      </dgm:t>
    </dgm:pt>
    <dgm:pt modelId="{CBFB0AA0-5CB2-7242-B626-D3843A3C8EE7}">
      <dgm:prSet/>
      <dgm:spPr/>
      <dgm:t>
        <a:bodyPr/>
        <a:lstStyle/>
        <a:p>
          <a:endParaRPr lang="en-US" dirty="0"/>
        </a:p>
      </dgm:t>
    </dgm:pt>
    <dgm:pt modelId="{AB38E476-B65F-B44D-82FA-4DA7EDBB6C38}" type="parTrans" cxnId="{6CCBB75E-58F3-4F44-875F-672BF3E6AB89}">
      <dgm:prSet/>
      <dgm:spPr/>
      <dgm:t>
        <a:bodyPr/>
        <a:lstStyle/>
        <a:p>
          <a:endParaRPr lang="en-CA"/>
        </a:p>
      </dgm:t>
    </dgm:pt>
    <dgm:pt modelId="{CE86B0D9-F0EF-9147-8CF2-4EE29B7344E4}" type="sibTrans" cxnId="{6CCBB75E-58F3-4F44-875F-672BF3E6AB89}">
      <dgm:prSet/>
      <dgm:spPr/>
      <dgm:t>
        <a:bodyPr/>
        <a:lstStyle/>
        <a:p>
          <a:endParaRPr lang="en-CA"/>
        </a:p>
      </dgm:t>
    </dgm:pt>
    <dgm:pt modelId="{E073C468-E41E-2943-AE6A-013278F2CA3F}">
      <dgm:prSet/>
      <dgm:spPr/>
      <dgm:t>
        <a:bodyPr/>
        <a:lstStyle/>
        <a:p>
          <a:r>
            <a:rPr lang="en-US" dirty="0"/>
            <a:t>CRA programs</a:t>
          </a:r>
        </a:p>
      </dgm:t>
    </dgm:pt>
    <dgm:pt modelId="{8E73610A-9E49-F448-BC70-8C2C97676B2B}" type="parTrans" cxnId="{6A16176F-AE13-AD4E-A64E-4E627F882ED9}">
      <dgm:prSet/>
      <dgm:spPr/>
      <dgm:t>
        <a:bodyPr/>
        <a:lstStyle/>
        <a:p>
          <a:endParaRPr lang="en-CA"/>
        </a:p>
      </dgm:t>
    </dgm:pt>
    <dgm:pt modelId="{53B47D3F-DE28-3245-8303-F615A58C3019}" type="sibTrans" cxnId="{6A16176F-AE13-AD4E-A64E-4E627F882ED9}">
      <dgm:prSet/>
      <dgm:spPr/>
      <dgm:t>
        <a:bodyPr/>
        <a:lstStyle/>
        <a:p>
          <a:endParaRPr lang="en-CA"/>
        </a:p>
      </dgm:t>
    </dgm:pt>
    <dgm:pt modelId="{43727D01-7031-8C44-86CE-A487645A466D}">
      <dgm:prSet/>
      <dgm:spPr/>
      <dgm:t>
        <a:bodyPr/>
        <a:lstStyle/>
        <a:p>
          <a:r>
            <a:rPr lang="en-US" dirty="0"/>
            <a:t>CCB</a:t>
          </a:r>
        </a:p>
      </dgm:t>
    </dgm:pt>
    <dgm:pt modelId="{31C36D00-E969-A242-8BEF-49541849E3E8}" type="parTrans" cxnId="{F2F7649C-489B-C04F-AF20-08DA3E3B98E3}">
      <dgm:prSet/>
      <dgm:spPr/>
      <dgm:t>
        <a:bodyPr/>
        <a:lstStyle/>
        <a:p>
          <a:endParaRPr lang="en-CA"/>
        </a:p>
      </dgm:t>
    </dgm:pt>
    <dgm:pt modelId="{91004FF2-BDA4-1C48-9A45-A9867164B43A}" type="sibTrans" cxnId="{F2F7649C-489B-C04F-AF20-08DA3E3B98E3}">
      <dgm:prSet/>
      <dgm:spPr/>
      <dgm:t>
        <a:bodyPr/>
        <a:lstStyle/>
        <a:p>
          <a:endParaRPr lang="en-CA"/>
        </a:p>
      </dgm:t>
    </dgm:pt>
    <dgm:pt modelId="{2564D74B-5DE6-EB44-8A9D-02CC898BC680}">
      <dgm:prSet/>
      <dgm:spPr/>
      <dgm:t>
        <a:bodyPr/>
        <a:lstStyle/>
        <a:p>
          <a:r>
            <a:rPr lang="en-US" dirty="0"/>
            <a:t>Tuition credit</a:t>
          </a:r>
        </a:p>
      </dgm:t>
    </dgm:pt>
    <dgm:pt modelId="{C923015D-3AE5-CA40-AFC2-B332D7CC7E7B}" type="parTrans" cxnId="{A98FDBD2-30AF-884F-94A8-80B93297273B}">
      <dgm:prSet/>
      <dgm:spPr/>
      <dgm:t>
        <a:bodyPr/>
        <a:lstStyle/>
        <a:p>
          <a:endParaRPr lang="en-CA"/>
        </a:p>
      </dgm:t>
    </dgm:pt>
    <dgm:pt modelId="{8EFBB28A-FE2F-4E4A-A23B-E5B952FDB2C5}" type="sibTrans" cxnId="{A98FDBD2-30AF-884F-94A8-80B93297273B}">
      <dgm:prSet/>
      <dgm:spPr/>
      <dgm:t>
        <a:bodyPr/>
        <a:lstStyle/>
        <a:p>
          <a:endParaRPr lang="en-CA"/>
        </a:p>
      </dgm:t>
    </dgm:pt>
    <dgm:pt modelId="{C0ECE7E3-48E1-A34B-A351-8ECA45827210}">
      <dgm:prSet/>
      <dgm:spPr/>
      <dgm:t>
        <a:bodyPr/>
        <a:lstStyle/>
        <a:p>
          <a:r>
            <a:rPr lang="en-US" dirty="0"/>
            <a:t>RESP &amp; RRSP</a:t>
          </a:r>
        </a:p>
      </dgm:t>
    </dgm:pt>
    <dgm:pt modelId="{022460AC-734F-3C47-BB6E-B8771E928ED7}" type="parTrans" cxnId="{C7E72638-0779-B840-AB04-3BEBCB4C9C29}">
      <dgm:prSet/>
      <dgm:spPr/>
      <dgm:t>
        <a:bodyPr/>
        <a:lstStyle/>
        <a:p>
          <a:endParaRPr lang="en-CA"/>
        </a:p>
      </dgm:t>
    </dgm:pt>
    <dgm:pt modelId="{6ADD31A4-A4AF-DB44-8835-291032E06EF9}" type="sibTrans" cxnId="{C7E72638-0779-B840-AB04-3BEBCB4C9C29}">
      <dgm:prSet/>
      <dgm:spPr/>
      <dgm:t>
        <a:bodyPr/>
        <a:lstStyle/>
        <a:p>
          <a:endParaRPr lang="en-CA"/>
        </a:p>
      </dgm:t>
    </dgm:pt>
    <dgm:pt modelId="{FB5CC607-E462-8F49-9E38-8519E1657675}" type="pres">
      <dgm:prSet presAssocID="{7BC2DB20-EFFD-4E7B-93C1-553BACDC4218}" presName="vert0" presStyleCnt="0">
        <dgm:presLayoutVars>
          <dgm:dir/>
          <dgm:animOne val="branch"/>
          <dgm:animLvl val="lvl"/>
        </dgm:presLayoutVars>
      </dgm:prSet>
      <dgm:spPr/>
    </dgm:pt>
    <dgm:pt modelId="{D6FB99AD-28F5-044D-A969-A999FAF811AF}" type="pres">
      <dgm:prSet presAssocID="{5CB291CD-C87A-4E73-A31F-A5E8DC48EC04}" presName="thickLine" presStyleLbl="alignNode1" presStyleIdx="0" presStyleCnt="3"/>
      <dgm:spPr/>
    </dgm:pt>
    <dgm:pt modelId="{16536B3C-96E3-F84C-9AD6-F10C01780B92}" type="pres">
      <dgm:prSet presAssocID="{5CB291CD-C87A-4E73-A31F-A5E8DC48EC04}" presName="horz1" presStyleCnt="0"/>
      <dgm:spPr/>
    </dgm:pt>
    <dgm:pt modelId="{A373D1E8-1C61-0346-96CB-CE6065B4D88D}" type="pres">
      <dgm:prSet presAssocID="{5CB291CD-C87A-4E73-A31F-A5E8DC48EC04}" presName="tx1" presStyleLbl="revTx" presStyleIdx="0" presStyleCnt="8"/>
      <dgm:spPr/>
    </dgm:pt>
    <dgm:pt modelId="{A949A535-0278-2848-A24E-F0C43CE2E59B}" type="pres">
      <dgm:prSet presAssocID="{5CB291CD-C87A-4E73-A31F-A5E8DC48EC04}" presName="vert1" presStyleCnt="0"/>
      <dgm:spPr/>
    </dgm:pt>
    <dgm:pt modelId="{D96F9B18-092F-0248-ACA6-61F3FB566A56}" type="pres">
      <dgm:prSet presAssocID="{36563EE1-3303-2E4E-95E5-5B45720A99FB}" presName="vertSpace2a" presStyleCnt="0"/>
      <dgm:spPr/>
    </dgm:pt>
    <dgm:pt modelId="{D5187330-EC01-D046-9015-19EEC2507666}" type="pres">
      <dgm:prSet presAssocID="{36563EE1-3303-2E4E-95E5-5B45720A99FB}" presName="horz2" presStyleCnt="0"/>
      <dgm:spPr/>
    </dgm:pt>
    <dgm:pt modelId="{F07BD8B0-142A-F24E-800A-272FE9077F20}" type="pres">
      <dgm:prSet presAssocID="{36563EE1-3303-2E4E-95E5-5B45720A99FB}" presName="horzSpace2" presStyleCnt="0"/>
      <dgm:spPr/>
    </dgm:pt>
    <dgm:pt modelId="{74DDC283-03E3-F847-810B-7ADD002C3C1F}" type="pres">
      <dgm:prSet presAssocID="{36563EE1-3303-2E4E-95E5-5B45720A99FB}" presName="tx2" presStyleLbl="revTx" presStyleIdx="1" presStyleCnt="8"/>
      <dgm:spPr/>
    </dgm:pt>
    <dgm:pt modelId="{B8338CFC-A653-0B49-963C-BF4D29066C16}" type="pres">
      <dgm:prSet presAssocID="{36563EE1-3303-2E4E-95E5-5B45720A99FB}" presName="vert2" presStyleCnt="0"/>
      <dgm:spPr/>
    </dgm:pt>
    <dgm:pt modelId="{068C78E0-F592-424B-B250-445120BD9FEF}" type="pres">
      <dgm:prSet presAssocID="{36563EE1-3303-2E4E-95E5-5B45720A99FB}" presName="thinLine2b" presStyleLbl="callout" presStyleIdx="0" presStyleCnt="5"/>
      <dgm:spPr/>
    </dgm:pt>
    <dgm:pt modelId="{F2AC209F-A0B1-8743-9424-0E810E0C6904}" type="pres">
      <dgm:prSet presAssocID="{36563EE1-3303-2E4E-95E5-5B45720A99FB}" presName="vertSpace2b" presStyleCnt="0"/>
      <dgm:spPr/>
    </dgm:pt>
    <dgm:pt modelId="{066E2EBE-7144-CB46-81AE-061763AD0BF0}" type="pres">
      <dgm:prSet presAssocID="{4E5DBD65-3BE7-1846-A98B-190CFAD32DB4}" presName="thickLine" presStyleLbl="alignNode1" presStyleIdx="1" presStyleCnt="3"/>
      <dgm:spPr/>
    </dgm:pt>
    <dgm:pt modelId="{1957BBAE-A530-5A4E-AA3E-2604FA7518FA}" type="pres">
      <dgm:prSet presAssocID="{4E5DBD65-3BE7-1846-A98B-190CFAD32DB4}" presName="horz1" presStyleCnt="0"/>
      <dgm:spPr/>
    </dgm:pt>
    <dgm:pt modelId="{BB66C32B-7536-AE4E-97D9-83CC31A8893C}" type="pres">
      <dgm:prSet presAssocID="{4E5DBD65-3BE7-1846-A98B-190CFAD32DB4}" presName="tx1" presStyleLbl="revTx" presStyleIdx="2" presStyleCnt="8"/>
      <dgm:spPr/>
    </dgm:pt>
    <dgm:pt modelId="{209965C4-2087-1346-B66F-1D5CB574406A}" type="pres">
      <dgm:prSet presAssocID="{4E5DBD65-3BE7-1846-A98B-190CFAD32DB4}" presName="vert1" presStyleCnt="0"/>
      <dgm:spPr/>
    </dgm:pt>
    <dgm:pt modelId="{D872F805-6C65-7B45-BA8F-D39CD7A1218A}" type="pres">
      <dgm:prSet presAssocID="{CBFB0AA0-5CB2-7242-B626-D3843A3C8EE7}" presName="vertSpace2a" presStyleCnt="0"/>
      <dgm:spPr/>
    </dgm:pt>
    <dgm:pt modelId="{B629B8D0-ED05-E24A-8E3A-CD5F4B97ABE4}" type="pres">
      <dgm:prSet presAssocID="{CBFB0AA0-5CB2-7242-B626-D3843A3C8EE7}" presName="horz2" presStyleCnt="0"/>
      <dgm:spPr/>
    </dgm:pt>
    <dgm:pt modelId="{33A8A885-D509-3744-9FCC-13ADAB465135}" type="pres">
      <dgm:prSet presAssocID="{CBFB0AA0-5CB2-7242-B626-D3843A3C8EE7}" presName="horzSpace2" presStyleCnt="0"/>
      <dgm:spPr/>
    </dgm:pt>
    <dgm:pt modelId="{818782B1-2DE4-5A47-8E96-D536BA01BD98}" type="pres">
      <dgm:prSet presAssocID="{CBFB0AA0-5CB2-7242-B626-D3843A3C8EE7}" presName="tx2" presStyleLbl="revTx" presStyleIdx="3" presStyleCnt="8"/>
      <dgm:spPr/>
    </dgm:pt>
    <dgm:pt modelId="{B7B11865-ABC6-DB43-814C-8ED3D478E499}" type="pres">
      <dgm:prSet presAssocID="{CBFB0AA0-5CB2-7242-B626-D3843A3C8EE7}" presName="vert2" presStyleCnt="0"/>
      <dgm:spPr/>
    </dgm:pt>
    <dgm:pt modelId="{E962DD66-32C9-A849-A3EE-1F2A3CEEB3BE}" type="pres">
      <dgm:prSet presAssocID="{CBFB0AA0-5CB2-7242-B626-D3843A3C8EE7}" presName="thinLine2b" presStyleLbl="callout" presStyleIdx="1" presStyleCnt="5"/>
      <dgm:spPr/>
    </dgm:pt>
    <dgm:pt modelId="{3EC0734F-30D4-BE41-9C84-E4D6B571DB3A}" type="pres">
      <dgm:prSet presAssocID="{CBFB0AA0-5CB2-7242-B626-D3843A3C8EE7}" presName="vertSpace2b" presStyleCnt="0"/>
      <dgm:spPr/>
    </dgm:pt>
    <dgm:pt modelId="{C84672D9-4B24-A04A-99E1-4F37CBA4FAB1}" type="pres">
      <dgm:prSet presAssocID="{E073C468-E41E-2943-AE6A-013278F2CA3F}" presName="thickLine" presStyleLbl="alignNode1" presStyleIdx="2" presStyleCnt="3"/>
      <dgm:spPr/>
    </dgm:pt>
    <dgm:pt modelId="{E7A70638-5F47-BC48-8B64-EA10E1C5303F}" type="pres">
      <dgm:prSet presAssocID="{E073C468-E41E-2943-AE6A-013278F2CA3F}" presName="horz1" presStyleCnt="0"/>
      <dgm:spPr/>
    </dgm:pt>
    <dgm:pt modelId="{4AE84786-E6E5-594B-9EC9-A9D77E7EA5BF}" type="pres">
      <dgm:prSet presAssocID="{E073C468-E41E-2943-AE6A-013278F2CA3F}" presName="tx1" presStyleLbl="revTx" presStyleIdx="4" presStyleCnt="8"/>
      <dgm:spPr/>
    </dgm:pt>
    <dgm:pt modelId="{AC677C7C-8D88-7D49-934F-C15792072FE7}" type="pres">
      <dgm:prSet presAssocID="{E073C468-E41E-2943-AE6A-013278F2CA3F}" presName="vert1" presStyleCnt="0"/>
      <dgm:spPr/>
    </dgm:pt>
    <dgm:pt modelId="{A7498F52-C7AD-2B47-9DE2-16DD5485F98B}" type="pres">
      <dgm:prSet presAssocID="{43727D01-7031-8C44-86CE-A487645A466D}" presName="vertSpace2a" presStyleCnt="0"/>
      <dgm:spPr/>
    </dgm:pt>
    <dgm:pt modelId="{299D4F0D-596D-C84A-98BA-D71E1001E9B2}" type="pres">
      <dgm:prSet presAssocID="{43727D01-7031-8C44-86CE-A487645A466D}" presName="horz2" presStyleCnt="0"/>
      <dgm:spPr/>
    </dgm:pt>
    <dgm:pt modelId="{F756276A-2B34-B24A-BA5B-1F774BEFD6B4}" type="pres">
      <dgm:prSet presAssocID="{43727D01-7031-8C44-86CE-A487645A466D}" presName="horzSpace2" presStyleCnt="0"/>
      <dgm:spPr/>
    </dgm:pt>
    <dgm:pt modelId="{9329762C-D996-6F49-928F-D3FC413F054F}" type="pres">
      <dgm:prSet presAssocID="{43727D01-7031-8C44-86CE-A487645A466D}" presName="tx2" presStyleLbl="revTx" presStyleIdx="5" presStyleCnt="8"/>
      <dgm:spPr/>
    </dgm:pt>
    <dgm:pt modelId="{009454A6-8F70-124F-BFAA-7028A0042172}" type="pres">
      <dgm:prSet presAssocID="{43727D01-7031-8C44-86CE-A487645A466D}" presName="vert2" presStyleCnt="0"/>
      <dgm:spPr/>
    </dgm:pt>
    <dgm:pt modelId="{8D17643D-438C-CD44-A596-4FC085394B9F}" type="pres">
      <dgm:prSet presAssocID="{43727D01-7031-8C44-86CE-A487645A466D}" presName="thinLine2b" presStyleLbl="callout" presStyleIdx="2" presStyleCnt="5"/>
      <dgm:spPr/>
    </dgm:pt>
    <dgm:pt modelId="{145AFEB9-214D-2C41-BCCE-D75576B3A52B}" type="pres">
      <dgm:prSet presAssocID="{43727D01-7031-8C44-86CE-A487645A466D}" presName="vertSpace2b" presStyleCnt="0"/>
      <dgm:spPr/>
    </dgm:pt>
    <dgm:pt modelId="{C9FB3E7D-F622-754E-99C9-400021EDEBA6}" type="pres">
      <dgm:prSet presAssocID="{2564D74B-5DE6-EB44-8A9D-02CC898BC680}" presName="horz2" presStyleCnt="0"/>
      <dgm:spPr/>
    </dgm:pt>
    <dgm:pt modelId="{387D6534-EAC1-1745-9192-6FD38BBAF9ED}" type="pres">
      <dgm:prSet presAssocID="{2564D74B-5DE6-EB44-8A9D-02CC898BC680}" presName="horzSpace2" presStyleCnt="0"/>
      <dgm:spPr/>
    </dgm:pt>
    <dgm:pt modelId="{EF88068C-B2A5-AE45-B753-1E2782DC5D60}" type="pres">
      <dgm:prSet presAssocID="{2564D74B-5DE6-EB44-8A9D-02CC898BC680}" presName="tx2" presStyleLbl="revTx" presStyleIdx="6" presStyleCnt="8"/>
      <dgm:spPr/>
    </dgm:pt>
    <dgm:pt modelId="{17BFC578-4CE8-0F4B-A4F1-63D13A7D8B93}" type="pres">
      <dgm:prSet presAssocID="{2564D74B-5DE6-EB44-8A9D-02CC898BC680}" presName="vert2" presStyleCnt="0"/>
      <dgm:spPr/>
    </dgm:pt>
    <dgm:pt modelId="{6B663B89-9EAA-C44D-A67A-489AB64040F9}" type="pres">
      <dgm:prSet presAssocID="{2564D74B-5DE6-EB44-8A9D-02CC898BC680}" presName="thinLine2b" presStyleLbl="callout" presStyleIdx="3" presStyleCnt="5"/>
      <dgm:spPr/>
    </dgm:pt>
    <dgm:pt modelId="{336283AE-95B6-7147-840F-B5A980F4E5E8}" type="pres">
      <dgm:prSet presAssocID="{2564D74B-5DE6-EB44-8A9D-02CC898BC680}" presName="vertSpace2b" presStyleCnt="0"/>
      <dgm:spPr/>
    </dgm:pt>
    <dgm:pt modelId="{F2A958E7-E5F1-694F-990B-D9A4777A056D}" type="pres">
      <dgm:prSet presAssocID="{C0ECE7E3-48E1-A34B-A351-8ECA45827210}" presName="horz2" presStyleCnt="0"/>
      <dgm:spPr/>
    </dgm:pt>
    <dgm:pt modelId="{397184F8-1276-4A42-91CB-26A875C09835}" type="pres">
      <dgm:prSet presAssocID="{C0ECE7E3-48E1-A34B-A351-8ECA45827210}" presName="horzSpace2" presStyleCnt="0"/>
      <dgm:spPr/>
    </dgm:pt>
    <dgm:pt modelId="{84C97435-809E-934B-9CB5-A5FE0C36F894}" type="pres">
      <dgm:prSet presAssocID="{C0ECE7E3-48E1-A34B-A351-8ECA45827210}" presName="tx2" presStyleLbl="revTx" presStyleIdx="7" presStyleCnt="8"/>
      <dgm:spPr/>
    </dgm:pt>
    <dgm:pt modelId="{71620C43-E9E4-6B43-99E2-D890185F424A}" type="pres">
      <dgm:prSet presAssocID="{C0ECE7E3-48E1-A34B-A351-8ECA45827210}" presName="vert2" presStyleCnt="0"/>
      <dgm:spPr/>
    </dgm:pt>
    <dgm:pt modelId="{79F4A79D-5D15-D941-8875-ABE81EB25708}" type="pres">
      <dgm:prSet presAssocID="{C0ECE7E3-48E1-A34B-A351-8ECA45827210}" presName="thinLine2b" presStyleLbl="callout" presStyleIdx="4" presStyleCnt="5"/>
      <dgm:spPr/>
    </dgm:pt>
    <dgm:pt modelId="{38C8AC00-D6B5-BE49-987A-C1E76EB5FBD8}" type="pres">
      <dgm:prSet presAssocID="{C0ECE7E3-48E1-A34B-A351-8ECA45827210}" presName="vertSpace2b" presStyleCnt="0"/>
      <dgm:spPr/>
    </dgm:pt>
  </dgm:ptLst>
  <dgm:cxnLst>
    <dgm:cxn modelId="{C8BF1404-11AF-480F-8668-46368F1D8C9B}" srcId="{7BC2DB20-EFFD-4E7B-93C1-553BACDC4218}" destId="{5CB291CD-C87A-4E73-A31F-A5E8DC48EC04}" srcOrd="0" destOrd="0" parTransId="{E99F5492-A06F-4526-99D6-3D5D0DAAB8D2}" sibTransId="{EB8001B5-1F3F-4B4C-99B7-5E44380F79E6}"/>
    <dgm:cxn modelId="{744AD923-5AC2-FF44-BF5A-4DA3DAC38D6E}" srcId="{5CB291CD-C87A-4E73-A31F-A5E8DC48EC04}" destId="{36563EE1-3303-2E4E-95E5-5B45720A99FB}" srcOrd="0" destOrd="0" parTransId="{F10C2558-B2A1-F546-9407-638C3A041175}" sibTransId="{6D3563EE-58B2-384B-82D4-175E1085DD0E}"/>
    <dgm:cxn modelId="{32525324-1E01-A04D-8097-6CF62010A624}" type="presOf" srcId="{CBFB0AA0-5CB2-7242-B626-D3843A3C8EE7}" destId="{818782B1-2DE4-5A47-8E96-D536BA01BD98}" srcOrd="0" destOrd="0" presId="urn:microsoft.com/office/officeart/2008/layout/LinedList"/>
    <dgm:cxn modelId="{C7E72638-0779-B840-AB04-3BEBCB4C9C29}" srcId="{E073C468-E41E-2943-AE6A-013278F2CA3F}" destId="{C0ECE7E3-48E1-A34B-A351-8ECA45827210}" srcOrd="2" destOrd="0" parTransId="{022460AC-734F-3C47-BB6E-B8771E928ED7}" sibTransId="{6ADD31A4-A4AF-DB44-8835-291032E06EF9}"/>
    <dgm:cxn modelId="{1C1BCB52-66BA-AE4A-A7CF-8D418E378FBA}" type="presOf" srcId="{C0ECE7E3-48E1-A34B-A351-8ECA45827210}" destId="{84C97435-809E-934B-9CB5-A5FE0C36F894}" srcOrd="0" destOrd="0" presId="urn:microsoft.com/office/officeart/2008/layout/LinedList"/>
    <dgm:cxn modelId="{6CCBB75E-58F3-4F44-875F-672BF3E6AB89}" srcId="{4E5DBD65-3BE7-1846-A98B-190CFAD32DB4}" destId="{CBFB0AA0-5CB2-7242-B626-D3843A3C8EE7}" srcOrd="0" destOrd="0" parTransId="{AB38E476-B65F-B44D-82FA-4DA7EDBB6C38}" sibTransId="{CE86B0D9-F0EF-9147-8CF2-4EE29B7344E4}"/>
    <dgm:cxn modelId="{6A16176F-AE13-AD4E-A64E-4E627F882ED9}" srcId="{7BC2DB20-EFFD-4E7B-93C1-553BACDC4218}" destId="{E073C468-E41E-2943-AE6A-013278F2CA3F}" srcOrd="2" destOrd="0" parTransId="{8E73610A-9E49-F448-BC70-8C2C97676B2B}" sibTransId="{53B47D3F-DE28-3245-8303-F615A58C3019}"/>
    <dgm:cxn modelId="{44CD8C71-1CF8-5C4A-BF62-2469C298A83B}" srcId="{7BC2DB20-EFFD-4E7B-93C1-553BACDC4218}" destId="{4E5DBD65-3BE7-1846-A98B-190CFAD32DB4}" srcOrd="1" destOrd="0" parTransId="{ED90EE24-02A9-2947-9DD3-48C92FE24D49}" sibTransId="{7CE57DF0-1362-EE4E-BD5F-85BD287B4FB4}"/>
    <dgm:cxn modelId="{C719C589-78DD-7E42-A79E-16724EF07872}" type="presOf" srcId="{36563EE1-3303-2E4E-95E5-5B45720A99FB}" destId="{74DDC283-03E3-F847-810B-7ADD002C3C1F}" srcOrd="0" destOrd="0" presId="urn:microsoft.com/office/officeart/2008/layout/LinedList"/>
    <dgm:cxn modelId="{7DEAE48E-CAD0-BB48-911C-36CA34C2DF6F}" type="presOf" srcId="{43727D01-7031-8C44-86CE-A487645A466D}" destId="{9329762C-D996-6F49-928F-D3FC413F054F}" srcOrd="0" destOrd="0" presId="urn:microsoft.com/office/officeart/2008/layout/LinedList"/>
    <dgm:cxn modelId="{C3605E9B-CAEC-264D-A887-28175882EF2C}" type="presOf" srcId="{4E5DBD65-3BE7-1846-A98B-190CFAD32DB4}" destId="{BB66C32B-7536-AE4E-97D9-83CC31A8893C}" srcOrd="0" destOrd="0" presId="urn:microsoft.com/office/officeart/2008/layout/LinedList"/>
    <dgm:cxn modelId="{F2F7649C-489B-C04F-AF20-08DA3E3B98E3}" srcId="{E073C468-E41E-2943-AE6A-013278F2CA3F}" destId="{43727D01-7031-8C44-86CE-A487645A466D}" srcOrd="0" destOrd="0" parTransId="{31C36D00-E969-A242-8BEF-49541849E3E8}" sibTransId="{91004FF2-BDA4-1C48-9A45-A9867164B43A}"/>
    <dgm:cxn modelId="{A98FDBD2-30AF-884F-94A8-80B93297273B}" srcId="{E073C468-E41E-2943-AE6A-013278F2CA3F}" destId="{2564D74B-5DE6-EB44-8A9D-02CC898BC680}" srcOrd="1" destOrd="0" parTransId="{C923015D-3AE5-CA40-AFC2-B332D7CC7E7B}" sibTransId="{8EFBB28A-FE2F-4E4A-A23B-E5B952FDB2C5}"/>
    <dgm:cxn modelId="{F0B24CDB-6870-484B-9F90-00BDBA7E4F82}" type="presOf" srcId="{2564D74B-5DE6-EB44-8A9D-02CC898BC680}" destId="{EF88068C-B2A5-AE45-B753-1E2782DC5D60}" srcOrd="0" destOrd="0" presId="urn:microsoft.com/office/officeart/2008/layout/LinedList"/>
    <dgm:cxn modelId="{0447F9ED-0EA4-CC4E-88CA-238E415826D0}" type="presOf" srcId="{5CB291CD-C87A-4E73-A31F-A5E8DC48EC04}" destId="{A373D1E8-1C61-0346-96CB-CE6065B4D88D}" srcOrd="0" destOrd="0" presId="urn:microsoft.com/office/officeart/2008/layout/LinedList"/>
    <dgm:cxn modelId="{517F45F4-1393-174D-AC19-05206260305C}" type="presOf" srcId="{E073C468-E41E-2943-AE6A-013278F2CA3F}" destId="{4AE84786-E6E5-594B-9EC9-A9D77E7EA5BF}" srcOrd="0" destOrd="0" presId="urn:microsoft.com/office/officeart/2008/layout/LinedList"/>
    <dgm:cxn modelId="{21F604F9-41CD-C148-9B50-6F407ECDA223}" type="presOf" srcId="{7BC2DB20-EFFD-4E7B-93C1-553BACDC4218}" destId="{FB5CC607-E462-8F49-9E38-8519E1657675}" srcOrd="0" destOrd="0" presId="urn:microsoft.com/office/officeart/2008/layout/LinedList"/>
    <dgm:cxn modelId="{0AB13C27-541A-C84E-A1A9-312CC4C08202}" type="presParOf" srcId="{FB5CC607-E462-8F49-9E38-8519E1657675}" destId="{D6FB99AD-28F5-044D-A969-A999FAF811AF}" srcOrd="0" destOrd="0" presId="urn:microsoft.com/office/officeart/2008/layout/LinedList"/>
    <dgm:cxn modelId="{E1F511C9-E162-7C4E-9074-E58B8B0D8B39}" type="presParOf" srcId="{FB5CC607-E462-8F49-9E38-8519E1657675}" destId="{16536B3C-96E3-F84C-9AD6-F10C01780B92}" srcOrd="1" destOrd="0" presId="urn:microsoft.com/office/officeart/2008/layout/LinedList"/>
    <dgm:cxn modelId="{ABB8C232-8AA7-2B4E-BCBA-5552CC1EDB7E}" type="presParOf" srcId="{16536B3C-96E3-F84C-9AD6-F10C01780B92}" destId="{A373D1E8-1C61-0346-96CB-CE6065B4D88D}" srcOrd="0" destOrd="0" presId="urn:microsoft.com/office/officeart/2008/layout/LinedList"/>
    <dgm:cxn modelId="{7227B3BA-D998-A34A-BC55-61BF52B225E9}" type="presParOf" srcId="{16536B3C-96E3-F84C-9AD6-F10C01780B92}" destId="{A949A535-0278-2848-A24E-F0C43CE2E59B}" srcOrd="1" destOrd="0" presId="urn:microsoft.com/office/officeart/2008/layout/LinedList"/>
    <dgm:cxn modelId="{4FC388D4-CE24-564B-9C98-70769107C454}" type="presParOf" srcId="{A949A535-0278-2848-A24E-F0C43CE2E59B}" destId="{D96F9B18-092F-0248-ACA6-61F3FB566A56}" srcOrd="0" destOrd="0" presId="urn:microsoft.com/office/officeart/2008/layout/LinedList"/>
    <dgm:cxn modelId="{1E66F2A0-C4F0-644C-BF50-D2B1015D6C7C}" type="presParOf" srcId="{A949A535-0278-2848-A24E-F0C43CE2E59B}" destId="{D5187330-EC01-D046-9015-19EEC2507666}" srcOrd="1" destOrd="0" presId="urn:microsoft.com/office/officeart/2008/layout/LinedList"/>
    <dgm:cxn modelId="{CA609320-A400-3C43-9D05-4AD49F7CF37B}" type="presParOf" srcId="{D5187330-EC01-D046-9015-19EEC2507666}" destId="{F07BD8B0-142A-F24E-800A-272FE9077F20}" srcOrd="0" destOrd="0" presId="urn:microsoft.com/office/officeart/2008/layout/LinedList"/>
    <dgm:cxn modelId="{D01F31C1-DB46-4A41-A4C9-7FBA22046940}" type="presParOf" srcId="{D5187330-EC01-D046-9015-19EEC2507666}" destId="{74DDC283-03E3-F847-810B-7ADD002C3C1F}" srcOrd="1" destOrd="0" presId="urn:microsoft.com/office/officeart/2008/layout/LinedList"/>
    <dgm:cxn modelId="{A272DC1F-FB9E-C14D-8CA8-2DF869CD4B9D}" type="presParOf" srcId="{D5187330-EC01-D046-9015-19EEC2507666}" destId="{B8338CFC-A653-0B49-963C-BF4D29066C16}" srcOrd="2" destOrd="0" presId="urn:microsoft.com/office/officeart/2008/layout/LinedList"/>
    <dgm:cxn modelId="{46AD77E4-47C5-6C47-A29A-9CF557CF4903}" type="presParOf" srcId="{A949A535-0278-2848-A24E-F0C43CE2E59B}" destId="{068C78E0-F592-424B-B250-445120BD9FEF}" srcOrd="2" destOrd="0" presId="urn:microsoft.com/office/officeart/2008/layout/LinedList"/>
    <dgm:cxn modelId="{33979FAB-A394-0544-9543-60475DAD64FD}" type="presParOf" srcId="{A949A535-0278-2848-A24E-F0C43CE2E59B}" destId="{F2AC209F-A0B1-8743-9424-0E810E0C6904}" srcOrd="3" destOrd="0" presId="urn:microsoft.com/office/officeart/2008/layout/LinedList"/>
    <dgm:cxn modelId="{D8BBE474-A5B7-9144-B51C-1BE77FD88E53}" type="presParOf" srcId="{FB5CC607-E462-8F49-9E38-8519E1657675}" destId="{066E2EBE-7144-CB46-81AE-061763AD0BF0}" srcOrd="2" destOrd="0" presId="urn:microsoft.com/office/officeart/2008/layout/LinedList"/>
    <dgm:cxn modelId="{A3A68F9D-3FCE-E44B-B947-176E7A3DD169}" type="presParOf" srcId="{FB5CC607-E462-8F49-9E38-8519E1657675}" destId="{1957BBAE-A530-5A4E-AA3E-2604FA7518FA}" srcOrd="3" destOrd="0" presId="urn:microsoft.com/office/officeart/2008/layout/LinedList"/>
    <dgm:cxn modelId="{32F322EF-C65C-3A49-9DD2-B82AA70069F5}" type="presParOf" srcId="{1957BBAE-A530-5A4E-AA3E-2604FA7518FA}" destId="{BB66C32B-7536-AE4E-97D9-83CC31A8893C}" srcOrd="0" destOrd="0" presId="urn:microsoft.com/office/officeart/2008/layout/LinedList"/>
    <dgm:cxn modelId="{5ED0DAF5-A0F4-4A4C-900E-2896C418592D}" type="presParOf" srcId="{1957BBAE-A530-5A4E-AA3E-2604FA7518FA}" destId="{209965C4-2087-1346-B66F-1D5CB574406A}" srcOrd="1" destOrd="0" presId="urn:microsoft.com/office/officeart/2008/layout/LinedList"/>
    <dgm:cxn modelId="{8D046984-DA47-F143-B89C-F8CA643BFECB}" type="presParOf" srcId="{209965C4-2087-1346-B66F-1D5CB574406A}" destId="{D872F805-6C65-7B45-BA8F-D39CD7A1218A}" srcOrd="0" destOrd="0" presId="urn:microsoft.com/office/officeart/2008/layout/LinedList"/>
    <dgm:cxn modelId="{F509E0E8-9F14-4940-981E-67AD165CAC7F}" type="presParOf" srcId="{209965C4-2087-1346-B66F-1D5CB574406A}" destId="{B629B8D0-ED05-E24A-8E3A-CD5F4B97ABE4}" srcOrd="1" destOrd="0" presId="urn:microsoft.com/office/officeart/2008/layout/LinedList"/>
    <dgm:cxn modelId="{3D2246C4-3F8E-424B-9694-BD2E3E94C21D}" type="presParOf" srcId="{B629B8D0-ED05-E24A-8E3A-CD5F4B97ABE4}" destId="{33A8A885-D509-3744-9FCC-13ADAB465135}" srcOrd="0" destOrd="0" presId="urn:microsoft.com/office/officeart/2008/layout/LinedList"/>
    <dgm:cxn modelId="{CEF1F5AF-8F71-A641-AA9E-F0A99AA1E439}" type="presParOf" srcId="{B629B8D0-ED05-E24A-8E3A-CD5F4B97ABE4}" destId="{818782B1-2DE4-5A47-8E96-D536BA01BD98}" srcOrd="1" destOrd="0" presId="urn:microsoft.com/office/officeart/2008/layout/LinedList"/>
    <dgm:cxn modelId="{D6B1D70E-EDFF-FA4B-A315-A03914692C81}" type="presParOf" srcId="{B629B8D0-ED05-E24A-8E3A-CD5F4B97ABE4}" destId="{B7B11865-ABC6-DB43-814C-8ED3D478E499}" srcOrd="2" destOrd="0" presId="urn:microsoft.com/office/officeart/2008/layout/LinedList"/>
    <dgm:cxn modelId="{9AA29DBA-2055-8C41-9D84-9A3C7D3A5657}" type="presParOf" srcId="{209965C4-2087-1346-B66F-1D5CB574406A}" destId="{E962DD66-32C9-A849-A3EE-1F2A3CEEB3BE}" srcOrd="2" destOrd="0" presId="urn:microsoft.com/office/officeart/2008/layout/LinedList"/>
    <dgm:cxn modelId="{06F9570B-BB54-BE4F-91B1-03CDB04D81DC}" type="presParOf" srcId="{209965C4-2087-1346-B66F-1D5CB574406A}" destId="{3EC0734F-30D4-BE41-9C84-E4D6B571DB3A}" srcOrd="3" destOrd="0" presId="urn:microsoft.com/office/officeart/2008/layout/LinedList"/>
    <dgm:cxn modelId="{713FA3D4-8F9D-9A48-8414-98A8549EA867}" type="presParOf" srcId="{FB5CC607-E462-8F49-9E38-8519E1657675}" destId="{C84672D9-4B24-A04A-99E1-4F37CBA4FAB1}" srcOrd="4" destOrd="0" presId="urn:microsoft.com/office/officeart/2008/layout/LinedList"/>
    <dgm:cxn modelId="{9C8E3C45-D7AA-6540-B2DD-AA1825E4B843}" type="presParOf" srcId="{FB5CC607-E462-8F49-9E38-8519E1657675}" destId="{E7A70638-5F47-BC48-8B64-EA10E1C5303F}" srcOrd="5" destOrd="0" presId="urn:microsoft.com/office/officeart/2008/layout/LinedList"/>
    <dgm:cxn modelId="{492D9C95-6ADC-5A48-AF21-9C60ECBC1B34}" type="presParOf" srcId="{E7A70638-5F47-BC48-8B64-EA10E1C5303F}" destId="{4AE84786-E6E5-594B-9EC9-A9D77E7EA5BF}" srcOrd="0" destOrd="0" presId="urn:microsoft.com/office/officeart/2008/layout/LinedList"/>
    <dgm:cxn modelId="{76F447C7-0EC1-A84C-ACDE-442FBAAC4EA2}" type="presParOf" srcId="{E7A70638-5F47-BC48-8B64-EA10E1C5303F}" destId="{AC677C7C-8D88-7D49-934F-C15792072FE7}" srcOrd="1" destOrd="0" presId="urn:microsoft.com/office/officeart/2008/layout/LinedList"/>
    <dgm:cxn modelId="{AB4FFBF1-8D98-324D-918D-93B18886F5F4}" type="presParOf" srcId="{AC677C7C-8D88-7D49-934F-C15792072FE7}" destId="{A7498F52-C7AD-2B47-9DE2-16DD5485F98B}" srcOrd="0" destOrd="0" presId="urn:microsoft.com/office/officeart/2008/layout/LinedList"/>
    <dgm:cxn modelId="{9604DAC3-B6CC-824F-B11E-7AC521F700C0}" type="presParOf" srcId="{AC677C7C-8D88-7D49-934F-C15792072FE7}" destId="{299D4F0D-596D-C84A-98BA-D71E1001E9B2}" srcOrd="1" destOrd="0" presId="urn:microsoft.com/office/officeart/2008/layout/LinedList"/>
    <dgm:cxn modelId="{EE06BA2B-5E4E-2B4B-8B2F-F43A3E41792D}" type="presParOf" srcId="{299D4F0D-596D-C84A-98BA-D71E1001E9B2}" destId="{F756276A-2B34-B24A-BA5B-1F774BEFD6B4}" srcOrd="0" destOrd="0" presId="urn:microsoft.com/office/officeart/2008/layout/LinedList"/>
    <dgm:cxn modelId="{1B349D2E-3077-4C48-9D00-042F03BC58F4}" type="presParOf" srcId="{299D4F0D-596D-C84A-98BA-D71E1001E9B2}" destId="{9329762C-D996-6F49-928F-D3FC413F054F}" srcOrd="1" destOrd="0" presId="urn:microsoft.com/office/officeart/2008/layout/LinedList"/>
    <dgm:cxn modelId="{EF088BD1-40D8-3B4E-8944-FE579E99C944}" type="presParOf" srcId="{299D4F0D-596D-C84A-98BA-D71E1001E9B2}" destId="{009454A6-8F70-124F-BFAA-7028A0042172}" srcOrd="2" destOrd="0" presId="urn:microsoft.com/office/officeart/2008/layout/LinedList"/>
    <dgm:cxn modelId="{A0A94DAA-7D6E-6D48-B545-39EF3F32543E}" type="presParOf" srcId="{AC677C7C-8D88-7D49-934F-C15792072FE7}" destId="{8D17643D-438C-CD44-A596-4FC085394B9F}" srcOrd="2" destOrd="0" presId="urn:microsoft.com/office/officeart/2008/layout/LinedList"/>
    <dgm:cxn modelId="{D6B66A12-7F9D-E745-B347-F572D1A389C8}" type="presParOf" srcId="{AC677C7C-8D88-7D49-934F-C15792072FE7}" destId="{145AFEB9-214D-2C41-BCCE-D75576B3A52B}" srcOrd="3" destOrd="0" presId="urn:microsoft.com/office/officeart/2008/layout/LinedList"/>
    <dgm:cxn modelId="{2A1421AE-AB20-FC4A-AF31-DBBB1359ED04}" type="presParOf" srcId="{AC677C7C-8D88-7D49-934F-C15792072FE7}" destId="{C9FB3E7D-F622-754E-99C9-400021EDEBA6}" srcOrd="4" destOrd="0" presId="urn:microsoft.com/office/officeart/2008/layout/LinedList"/>
    <dgm:cxn modelId="{18D72F28-7E89-6044-8716-7D02B76E63C2}" type="presParOf" srcId="{C9FB3E7D-F622-754E-99C9-400021EDEBA6}" destId="{387D6534-EAC1-1745-9192-6FD38BBAF9ED}" srcOrd="0" destOrd="0" presId="urn:microsoft.com/office/officeart/2008/layout/LinedList"/>
    <dgm:cxn modelId="{6CB9DE74-E069-9F4E-AA19-F7207BBC5543}" type="presParOf" srcId="{C9FB3E7D-F622-754E-99C9-400021EDEBA6}" destId="{EF88068C-B2A5-AE45-B753-1E2782DC5D60}" srcOrd="1" destOrd="0" presId="urn:microsoft.com/office/officeart/2008/layout/LinedList"/>
    <dgm:cxn modelId="{E77656E6-5D52-FB4C-BB44-DFA5CDE48950}" type="presParOf" srcId="{C9FB3E7D-F622-754E-99C9-400021EDEBA6}" destId="{17BFC578-4CE8-0F4B-A4F1-63D13A7D8B93}" srcOrd="2" destOrd="0" presId="urn:microsoft.com/office/officeart/2008/layout/LinedList"/>
    <dgm:cxn modelId="{2FFA176B-7FBD-BE42-9685-54199BB4CCF0}" type="presParOf" srcId="{AC677C7C-8D88-7D49-934F-C15792072FE7}" destId="{6B663B89-9EAA-C44D-A67A-489AB64040F9}" srcOrd="5" destOrd="0" presId="urn:microsoft.com/office/officeart/2008/layout/LinedList"/>
    <dgm:cxn modelId="{00F341AB-B7FE-3544-9C52-0B735FC6C359}" type="presParOf" srcId="{AC677C7C-8D88-7D49-934F-C15792072FE7}" destId="{336283AE-95B6-7147-840F-B5A980F4E5E8}" srcOrd="6" destOrd="0" presId="urn:microsoft.com/office/officeart/2008/layout/LinedList"/>
    <dgm:cxn modelId="{DCE31645-830D-BE4B-9527-6A8D9B2FC03B}" type="presParOf" srcId="{AC677C7C-8D88-7D49-934F-C15792072FE7}" destId="{F2A958E7-E5F1-694F-990B-D9A4777A056D}" srcOrd="7" destOrd="0" presId="urn:microsoft.com/office/officeart/2008/layout/LinedList"/>
    <dgm:cxn modelId="{EAC1A89A-7EB8-714F-B595-DE90F82C9828}" type="presParOf" srcId="{F2A958E7-E5F1-694F-990B-D9A4777A056D}" destId="{397184F8-1276-4A42-91CB-26A875C09835}" srcOrd="0" destOrd="0" presId="urn:microsoft.com/office/officeart/2008/layout/LinedList"/>
    <dgm:cxn modelId="{629F7C4C-0AFA-324F-B0C8-E3CD8E73C56F}" type="presParOf" srcId="{F2A958E7-E5F1-694F-990B-D9A4777A056D}" destId="{84C97435-809E-934B-9CB5-A5FE0C36F894}" srcOrd="1" destOrd="0" presId="urn:microsoft.com/office/officeart/2008/layout/LinedList"/>
    <dgm:cxn modelId="{042A1C12-12C1-2142-840B-4986CF8ACBAE}" type="presParOf" srcId="{F2A958E7-E5F1-694F-990B-D9A4777A056D}" destId="{71620C43-E9E4-6B43-99E2-D890185F424A}" srcOrd="2" destOrd="0" presId="urn:microsoft.com/office/officeart/2008/layout/LinedList"/>
    <dgm:cxn modelId="{298C72A9-A590-E243-8035-F71D6476BEF4}" type="presParOf" srcId="{AC677C7C-8D88-7D49-934F-C15792072FE7}" destId="{79F4A79D-5D15-D941-8875-ABE81EB25708}" srcOrd="8" destOrd="0" presId="urn:microsoft.com/office/officeart/2008/layout/LinedList"/>
    <dgm:cxn modelId="{80FB268D-FCAC-E348-AA30-884F2B693606}" type="presParOf" srcId="{AC677C7C-8D88-7D49-934F-C15792072FE7}" destId="{38C8AC00-D6B5-BE49-987A-C1E76EB5FBD8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BC2DB20-EFFD-4E7B-93C1-553BACDC4218}" type="doc">
      <dgm:prSet loTypeId="urn:microsoft.com/office/officeart/2008/layout/LinedList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B291CD-C87A-4E73-A31F-A5E8DC48EC04}">
      <dgm:prSet/>
      <dgm:spPr/>
      <dgm:t>
        <a:bodyPr/>
        <a:lstStyle/>
        <a:p>
          <a:r>
            <a:rPr lang="en-US" dirty="0"/>
            <a:t>CRA information</a:t>
          </a:r>
        </a:p>
      </dgm:t>
    </dgm:pt>
    <dgm:pt modelId="{E99F5492-A06F-4526-99D6-3D5D0DAAB8D2}" type="parTrans" cxnId="{C8BF1404-11AF-480F-8668-46368F1D8C9B}">
      <dgm:prSet/>
      <dgm:spPr/>
      <dgm:t>
        <a:bodyPr/>
        <a:lstStyle/>
        <a:p>
          <a:endParaRPr lang="en-US"/>
        </a:p>
      </dgm:t>
    </dgm:pt>
    <dgm:pt modelId="{EB8001B5-1F3F-4B4C-99B7-5E44380F79E6}" type="sibTrans" cxnId="{C8BF1404-11AF-480F-8668-46368F1D8C9B}">
      <dgm:prSet/>
      <dgm:spPr/>
      <dgm:t>
        <a:bodyPr/>
        <a:lstStyle/>
        <a:p>
          <a:endParaRPr lang="en-US"/>
        </a:p>
      </dgm:t>
    </dgm:pt>
    <dgm:pt modelId="{36563EE1-3303-2E4E-95E5-5B45720A99FB}">
      <dgm:prSet/>
      <dgm:spPr/>
      <dgm:t>
        <a:bodyPr/>
        <a:lstStyle/>
        <a:p>
          <a:r>
            <a:rPr lang="en-US" dirty="0"/>
            <a:t>Employers, financial institutions, review of tax returns, assessment programs</a:t>
          </a:r>
        </a:p>
      </dgm:t>
    </dgm:pt>
    <dgm:pt modelId="{F10C2558-B2A1-F546-9407-638C3A041175}" type="parTrans" cxnId="{744AD923-5AC2-FF44-BF5A-4DA3DAC38D6E}">
      <dgm:prSet/>
      <dgm:spPr/>
      <dgm:t>
        <a:bodyPr/>
        <a:lstStyle/>
        <a:p>
          <a:endParaRPr lang="en-CA"/>
        </a:p>
      </dgm:t>
    </dgm:pt>
    <dgm:pt modelId="{6D3563EE-58B2-384B-82D4-175E1085DD0E}" type="sibTrans" cxnId="{744AD923-5AC2-FF44-BF5A-4DA3DAC38D6E}">
      <dgm:prSet/>
      <dgm:spPr/>
      <dgm:t>
        <a:bodyPr/>
        <a:lstStyle/>
        <a:p>
          <a:endParaRPr lang="en-CA"/>
        </a:p>
      </dgm:t>
    </dgm:pt>
    <dgm:pt modelId="{4E5DBD65-3BE7-1846-A98B-190CFAD32DB4}">
      <dgm:prSet/>
      <dgm:spPr/>
      <dgm:t>
        <a:bodyPr/>
        <a:lstStyle/>
        <a:p>
          <a:r>
            <a:rPr lang="en-US" dirty="0"/>
            <a:t>Tax filing</a:t>
          </a:r>
        </a:p>
      </dgm:t>
    </dgm:pt>
    <dgm:pt modelId="{ED90EE24-02A9-2947-9DD3-48C92FE24D49}" type="parTrans" cxnId="{44CD8C71-1CF8-5C4A-BF62-2469C298A83B}">
      <dgm:prSet/>
      <dgm:spPr/>
      <dgm:t>
        <a:bodyPr/>
        <a:lstStyle/>
        <a:p>
          <a:endParaRPr lang="en-CA"/>
        </a:p>
      </dgm:t>
    </dgm:pt>
    <dgm:pt modelId="{7CE57DF0-1362-EE4E-BD5F-85BD287B4FB4}" type="sibTrans" cxnId="{44CD8C71-1CF8-5C4A-BF62-2469C298A83B}">
      <dgm:prSet/>
      <dgm:spPr/>
      <dgm:t>
        <a:bodyPr/>
        <a:lstStyle/>
        <a:p>
          <a:endParaRPr lang="en-CA"/>
        </a:p>
      </dgm:t>
    </dgm:pt>
    <dgm:pt modelId="{E073C468-E41E-2943-AE6A-013278F2CA3F}">
      <dgm:prSet/>
      <dgm:spPr/>
      <dgm:t>
        <a:bodyPr/>
        <a:lstStyle/>
        <a:p>
          <a:r>
            <a:rPr lang="en-US" dirty="0"/>
            <a:t>Filing options</a:t>
          </a:r>
        </a:p>
      </dgm:t>
    </dgm:pt>
    <dgm:pt modelId="{8E73610A-9E49-F448-BC70-8C2C97676B2B}" type="parTrans" cxnId="{6A16176F-AE13-AD4E-A64E-4E627F882ED9}">
      <dgm:prSet/>
      <dgm:spPr/>
      <dgm:t>
        <a:bodyPr/>
        <a:lstStyle/>
        <a:p>
          <a:endParaRPr lang="en-CA"/>
        </a:p>
      </dgm:t>
    </dgm:pt>
    <dgm:pt modelId="{53B47D3F-DE28-3245-8303-F615A58C3019}" type="sibTrans" cxnId="{6A16176F-AE13-AD4E-A64E-4E627F882ED9}">
      <dgm:prSet/>
      <dgm:spPr/>
      <dgm:t>
        <a:bodyPr/>
        <a:lstStyle/>
        <a:p>
          <a:endParaRPr lang="en-CA"/>
        </a:p>
      </dgm:t>
    </dgm:pt>
    <dgm:pt modelId="{43727D01-7031-8C44-86CE-A487645A466D}">
      <dgm:prSet/>
      <dgm:spPr/>
      <dgm:t>
        <a:bodyPr/>
        <a:lstStyle/>
        <a:p>
          <a:r>
            <a:rPr lang="en-US" dirty="0"/>
            <a:t>NetFile</a:t>
          </a:r>
        </a:p>
      </dgm:t>
    </dgm:pt>
    <dgm:pt modelId="{31C36D00-E969-A242-8BEF-49541849E3E8}" type="parTrans" cxnId="{F2F7649C-489B-C04F-AF20-08DA3E3B98E3}">
      <dgm:prSet/>
      <dgm:spPr/>
      <dgm:t>
        <a:bodyPr/>
        <a:lstStyle/>
        <a:p>
          <a:endParaRPr lang="en-CA"/>
        </a:p>
      </dgm:t>
    </dgm:pt>
    <dgm:pt modelId="{91004FF2-BDA4-1C48-9A45-A9867164B43A}" type="sibTrans" cxnId="{F2F7649C-489B-C04F-AF20-08DA3E3B98E3}">
      <dgm:prSet/>
      <dgm:spPr/>
      <dgm:t>
        <a:bodyPr/>
        <a:lstStyle/>
        <a:p>
          <a:endParaRPr lang="en-CA"/>
        </a:p>
      </dgm:t>
    </dgm:pt>
    <dgm:pt modelId="{2564D74B-5DE6-EB44-8A9D-02CC898BC680}">
      <dgm:prSet/>
      <dgm:spPr/>
      <dgm:t>
        <a:bodyPr/>
        <a:lstStyle/>
        <a:p>
          <a:r>
            <a:rPr lang="en-US" dirty="0"/>
            <a:t>EFILE</a:t>
          </a:r>
        </a:p>
      </dgm:t>
    </dgm:pt>
    <dgm:pt modelId="{C923015D-3AE5-CA40-AFC2-B332D7CC7E7B}" type="parTrans" cxnId="{A98FDBD2-30AF-884F-94A8-80B93297273B}">
      <dgm:prSet/>
      <dgm:spPr/>
      <dgm:t>
        <a:bodyPr/>
        <a:lstStyle/>
        <a:p>
          <a:endParaRPr lang="en-CA"/>
        </a:p>
      </dgm:t>
    </dgm:pt>
    <dgm:pt modelId="{8EFBB28A-FE2F-4E4A-A23B-E5B952FDB2C5}" type="sibTrans" cxnId="{A98FDBD2-30AF-884F-94A8-80B93297273B}">
      <dgm:prSet/>
      <dgm:spPr/>
      <dgm:t>
        <a:bodyPr/>
        <a:lstStyle/>
        <a:p>
          <a:endParaRPr lang="en-CA"/>
        </a:p>
      </dgm:t>
    </dgm:pt>
    <dgm:pt modelId="{C0ECE7E3-48E1-A34B-A351-8ECA45827210}">
      <dgm:prSet/>
      <dgm:spPr/>
      <dgm:t>
        <a:bodyPr/>
        <a:lstStyle/>
        <a:p>
          <a:r>
            <a:rPr lang="en-US" dirty="0"/>
            <a:t>Paper</a:t>
          </a:r>
        </a:p>
      </dgm:t>
    </dgm:pt>
    <dgm:pt modelId="{022460AC-734F-3C47-BB6E-B8771E928ED7}" type="parTrans" cxnId="{C7E72638-0779-B840-AB04-3BEBCB4C9C29}">
      <dgm:prSet/>
      <dgm:spPr/>
      <dgm:t>
        <a:bodyPr/>
        <a:lstStyle/>
        <a:p>
          <a:endParaRPr lang="en-CA"/>
        </a:p>
      </dgm:t>
    </dgm:pt>
    <dgm:pt modelId="{6ADD31A4-A4AF-DB44-8835-291032E06EF9}" type="sibTrans" cxnId="{C7E72638-0779-B840-AB04-3BEBCB4C9C29}">
      <dgm:prSet/>
      <dgm:spPr/>
      <dgm:t>
        <a:bodyPr/>
        <a:lstStyle/>
        <a:p>
          <a:endParaRPr lang="en-CA"/>
        </a:p>
      </dgm:t>
    </dgm:pt>
    <dgm:pt modelId="{D2B44D38-C2EC-064B-8D2B-E246D12EF2DA}">
      <dgm:prSet/>
      <dgm:spPr/>
      <dgm:t>
        <a:bodyPr/>
        <a:lstStyle/>
        <a:p>
          <a:r>
            <a:rPr lang="en-US" dirty="0"/>
            <a:t>All income earners</a:t>
          </a:r>
        </a:p>
      </dgm:t>
    </dgm:pt>
    <dgm:pt modelId="{53FD20FE-5E6C-BB44-A7D1-620FE2331489}" type="parTrans" cxnId="{DA20EC70-568C-704A-AED3-BC9303BB1602}">
      <dgm:prSet/>
      <dgm:spPr/>
      <dgm:t>
        <a:bodyPr/>
        <a:lstStyle/>
        <a:p>
          <a:endParaRPr lang="en-CA"/>
        </a:p>
      </dgm:t>
    </dgm:pt>
    <dgm:pt modelId="{1DFFE7CA-D171-954A-8CA1-5381C5329D5D}" type="sibTrans" cxnId="{DA20EC70-568C-704A-AED3-BC9303BB1602}">
      <dgm:prSet/>
      <dgm:spPr/>
      <dgm:t>
        <a:bodyPr/>
        <a:lstStyle/>
        <a:p>
          <a:endParaRPr lang="en-CA"/>
        </a:p>
      </dgm:t>
    </dgm:pt>
    <dgm:pt modelId="{A0F0566F-2619-3545-A910-FD23E0A21A1A}">
      <dgm:prSet/>
      <dgm:spPr/>
      <dgm:t>
        <a:bodyPr/>
        <a:lstStyle/>
        <a:p>
          <a:r>
            <a:rPr lang="en-US" dirty="0"/>
            <a:t>Taxpayer responsibilities</a:t>
          </a:r>
        </a:p>
      </dgm:t>
    </dgm:pt>
    <dgm:pt modelId="{F50591CF-F28C-4840-AFB4-BC739FA23B24}" type="parTrans" cxnId="{09506EF1-06B5-6844-9811-91B3747509FE}">
      <dgm:prSet/>
      <dgm:spPr/>
      <dgm:t>
        <a:bodyPr/>
        <a:lstStyle/>
        <a:p>
          <a:endParaRPr lang="en-CA"/>
        </a:p>
      </dgm:t>
    </dgm:pt>
    <dgm:pt modelId="{718978D9-C128-0D4C-BCDD-589F10A4A4A9}" type="sibTrans" cxnId="{09506EF1-06B5-6844-9811-91B3747509FE}">
      <dgm:prSet/>
      <dgm:spPr/>
      <dgm:t>
        <a:bodyPr/>
        <a:lstStyle/>
        <a:p>
          <a:endParaRPr lang="en-CA"/>
        </a:p>
      </dgm:t>
    </dgm:pt>
    <dgm:pt modelId="{68F385F9-4057-834E-A20F-F57B6CF91FC5}">
      <dgm:prSet/>
      <dgm:spPr/>
      <dgm:t>
        <a:bodyPr/>
        <a:lstStyle/>
        <a:p>
          <a:r>
            <a:rPr lang="en-US" dirty="0"/>
            <a:t>Filing obligation</a:t>
          </a:r>
        </a:p>
      </dgm:t>
    </dgm:pt>
    <dgm:pt modelId="{307D8BBB-9D6B-D04C-91BA-6F7A02EA434A}" type="parTrans" cxnId="{A9EA0F3B-3159-7643-B00D-567B7147D77B}">
      <dgm:prSet/>
      <dgm:spPr/>
      <dgm:t>
        <a:bodyPr/>
        <a:lstStyle/>
        <a:p>
          <a:endParaRPr lang="en-CA"/>
        </a:p>
      </dgm:t>
    </dgm:pt>
    <dgm:pt modelId="{A98BB89A-24CB-A646-962B-0AF4A9C85ADB}" type="sibTrans" cxnId="{A9EA0F3B-3159-7643-B00D-567B7147D77B}">
      <dgm:prSet/>
      <dgm:spPr/>
      <dgm:t>
        <a:bodyPr/>
        <a:lstStyle/>
        <a:p>
          <a:endParaRPr lang="en-CA"/>
        </a:p>
      </dgm:t>
    </dgm:pt>
    <dgm:pt modelId="{DA4BC40B-BE17-6D42-978E-C79E5C1BA400}">
      <dgm:prSet/>
      <dgm:spPr/>
      <dgm:t>
        <a:bodyPr/>
        <a:lstStyle/>
        <a:p>
          <a:r>
            <a:rPr lang="en-US"/>
            <a:t>Self-assessment</a:t>
          </a:r>
          <a:endParaRPr lang="en-US" dirty="0"/>
        </a:p>
      </dgm:t>
    </dgm:pt>
    <dgm:pt modelId="{8D575549-778E-7242-B81A-7BACE2AB0733}" type="parTrans" cxnId="{72011C02-BCFB-7B44-B66F-A1EBC594E7FC}">
      <dgm:prSet/>
      <dgm:spPr/>
      <dgm:t>
        <a:bodyPr/>
        <a:lstStyle/>
        <a:p>
          <a:endParaRPr lang="en-CA"/>
        </a:p>
      </dgm:t>
    </dgm:pt>
    <dgm:pt modelId="{AE96205B-4017-3B41-9861-FABAFE67CFBB}" type="sibTrans" cxnId="{72011C02-BCFB-7B44-B66F-A1EBC594E7FC}">
      <dgm:prSet/>
      <dgm:spPr/>
      <dgm:t>
        <a:bodyPr/>
        <a:lstStyle/>
        <a:p>
          <a:endParaRPr lang="en-CA"/>
        </a:p>
      </dgm:t>
    </dgm:pt>
    <dgm:pt modelId="{51DA6697-FFF0-0B4A-B37B-23E349430D3C}">
      <dgm:prSet/>
      <dgm:spPr/>
      <dgm:t>
        <a:bodyPr/>
        <a:lstStyle/>
        <a:p>
          <a:r>
            <a:rPr lang="en-US" dirty="0"/>
            <a:t>Paying correct amount</a:t>
          </a:r>
        </a:p>
      </dgm:t>
    </dgm:pt>
    <dgm:pt modelId="{A8021102-C207-674C-A9B1-D7DDC27B8D83}" type="parTrans" cxnId="{0CF750AE-88CB-9B41-B061-CA841F533416}">
      <dgm:prSet/>
      <dgm:spPr/>
      <dgm:t>
        <a:bodyPr/>
        <a:lstStyle/>
        <a:p>
          <a:endParaRPr lang="en-CA"/>
        </a:p>
      </dgm:t>
    </dgm:pt>
    <dgm:pt modelId="{36FFB132-35C9-4740-B665-1A36C895F1F9}" type="sibTrans" cxnId="{0CF750AE-88CB-9B41-B061-CA841F533416}">
      <dgm:prSet/>
      <dgm:spPr/>
      <dgm:t>
        <a:bodyPr/>
        <a:lstStyle/>
        <a:p>
          <a:endParaRPr lang="en-CA"/>
        </a:p>
      </dgm:t>
    </dgm:pt>
    <dgm:pt modelId="{5AFAD1DF-8125-0B46-8557-A6D7E19525BF}" type="pres">
      <dgm:prSet presAssocID="{7BC2DB20-EFFD-4E7B-93C1-553BACDC4218}" presName="vert0" presStyleCnt="0">
        <dgm:presLayoutVars>
          <dgm:dir/>
          <dgm:animOne val="branch"/>
          <dgm:animLvl val="lvl"/>
        </dgm:presLayoutVars>
      </dgm:prSet>
      <dgm:spPr/>
    </dgm:pt>
    <dgm:pt modelId="{C34A7079-C8CD-C244-9DED-F8BE3FC1C856}" type="pres">
      <dgm:prSet presAssocID="{5CB291CD-C87A-4E73-A31F-A5E8DC48EC04}" presName="thickLine" presStyleLbl="alignNode1" presStyleIdx="0" presStyleCnt="4"/>
      <dgm:spPr/>
    </dgm:pt>
    <dgm:pt modelId="{DF9FF762-0BC5-E846-931E-B91CA0560DC0}" type="pres">
      <dgm:prSet presAssocID="{5CB291CD-C87A-4E73-A31F-A5E8DC48EC04}" presName="horz1" presStyleCnt="0"/>
      <dgm:spPr/>
    </dgm:pt>
    <dgm:pt modelId="{8543774D-B1FB-5B43-855E-CC9D9A4FD068}" type="pres">
      <dgm:prSet presAssocID="{5CB291CD-C87A-4E73-A31F-A5E8DC48EC04}" presName="tx1" presStyleLbl="revTx" presStyleIdx="0" presStyleCnt="12"/>
      <dgm:spPr/>
    </dgm:pt>
    <dgm:pt modelId="{98160F31-3556-2245-A224-19BDA49B3202}" type="pres">
      <dgm:prSet presAssocID="{5CB291CD-C87A-4E73-A31F-A5E8DC48EC04}" presName="vert1" presStyleCnt="0"/>
      <dgm:spPr/>
    </dgm:pt>
    <dgm:pt modelId="{5874F509-52D1-D243-A99A-500EC3330490}" type="pres">
      <dgm:prSet presAssocID="{36563EE1-3303-2E4E-95E5-5B45720A99FB}" presName="vertSpace2a" presStyleCnt="0"/>
      <dgm:spPr/>
    </dgm:pt>
    <dgm:pt modelId="{95C5496A-0264-4C44-A395-6BEB2D1095F0}" type="pres">
      <dgm:prSet presAssocID="{36563EE1-3303-2E4E-95E5-5B45720A99FB}" presName="horz2" presStyleCnt="0"/>
      <dgm:spPr/>
    </dgm:pt>
    <dgm:pt modelId="{534E5DE6-094C-D140-8B31-E03932E8D4C8}" type="pres">
      <dgm:prSet presAssocID="{36563EE1-3303-2E4E-95E5-5B45720A99FB}" presName="horzSpace2" presStyleCnt="0"/>
      <dgm:spPr/>
    </dgm:pt>
    <dgm:pt modelId="{4F86EE73-8E24-B847-BBFF-7EBE8BB88999}" type="pres">
      <dgm:prSet presAssocID="{36563EE1-3303-2E4E-95E5-5B45720A99FB}" presName="tx2" presStyleLbl="revTx" presStyleIdx="1" presStyleCnt="12"/>
      <dgm:spPr/>
    </dgm:pt>
    <dgm:pt modelId="{DF5F9E38-D77A-BF4F-B725-9EFD69EE273F}" type="pres">
      <dgm:prSet presAssocID="{36563EE1-3303-2E4E-95E5-5B45720A99FB}" presName="vert2" presStyleCnt="0"/>
      <dgm:spPr/>
    </dgm:pt>
    <dgm:pt modelId="{2FBCA2DD-3198-B54B-8721-31EE45D15FFC}" type="pres">
      <dgm:prSet presAssocID="{36563EE1-3303-2E4E-95E5-5B45720A99FB}" presName="thinLine2b" presStyleLbl="callout" presStyleIdx="0" presStyleCnt="8"/>
      <dgm:spPr/>
    </dgm:pt>
    <dgm:pt modelId="{58DFB121-E609-6546-B22D-A183426E4766}" type="pres">
      <dgm:prSet presAssocID="{36563EE1-3303-2E4E-95E5-5B45720A99FB}" presName="vertSpace2b" presStyleCnt="0"/>
      <dgm:spPr/>
    </dgm:pt>
    <dgm:pt modelId="{CB9A10EC-A9D6-6C45-A31E-6CF1BC757450}" type="pres">
      <dgm:prSet presAssocID="{4E5DBD65-3BE7-1846-A98B-190CFAD32DB4}" presName="thickLine" presStyleLbl="alignNode1" presStyleIdx="1" presStyleCnt="4"/>
      <dgm:spPr/>
    </dgm:pt>
    <dgm:pt modelId="{92872658-8B02-A741-A1C8-81BDF6F9F36A}" type="pres">
      <dgm:prSet presAssocID="{4E5DBD65-3BE7-1846-A98B-190CFAD32DB4}" presName="horz1" presStyleCnt="0"/>
      <dgm:spPr/>
    </dgm:pt>
    <dgm:pt modelId="{E6F183D0-80B9-0C44-A78F-76FF6CB4253F}" type="pres">
      <dgm:prSet presAssocID="{4E5DBD65-3BE7-1846-A98B-190CFAD32DB4}" presName="tx1" presStyleLbl="revTx" presStyleIdx="2" presStyleCnt="12"/>
      <dgm:spPr/>
    </dgm:pt>
    <dgm:pt modelId="{DE898DD3-809C-DB41-880D-444E72F314AD}" type="pres">
      <dgm:prSet presAssocID="{4E5DBD65-3BE7-1846-A98B-190CFAD32DB4}" presName="vert1" presStyleCnt="0"/>
      <dgm:spPr/>
    </dgm:pt>
    <dgm:pt modelId="{0A9403A1-8F8F-D448-8A0E-A467D543521C}" type="pres">
      <dgm:prSet presAssocID="{D2B44D38-C2EC-064B-8D2B-E246D12EF2DA}" presName="vertSpace2a" presStyleCnt="0"/>
      <dgm:spPr/>
    </dgm:pt>
    <dgm:pt modelId="{995EC3A1-E588-624A-A310-87084625F806}" type="pres">
      <dgm:prSet presAssocID="{D2B44D38-C2EC-064B-8D2B-E246D12EF2DA}" presName="horz2" presStyleCnt="0"/>
      <dgm:spPr/>
    </dgm:pt>
    <dgm:pt modelId="{9F4BF2C7-90D0-0E49-ACF1-1F3B8411F3F7}" type="pres">
      <dgm:prSet presAssocID="{D2B44D38-C2EC-064B-8D2B-E246D12EF2DA}" presName="horzSpace2" presStyleCnt="0"/>
      <dgm:spPr/>
    </dgm:pt>
    <dgm:pt modelId="{200C9193-58CD-C346-A9C8-98FC07617D14}" type="pres">
      <dgm:prSet presAssocID="{D2B44D38-C2EC-064B-8D2B-E246D12EF2DA}" presName="tx2" presStyleLbl="revTx" presStyleIdx="3" presStyleCnt="12"/>
      <dgm:spPr/>
    </dgm:pt>
    <dgm:pt modelId="{A0BB33D9-C79F-6446-85BD-C857DDCA6A4F}" type="pres">
      <dgm:prSet presAssocID="{D2B44D38-C2EC-064B-8D2B-E246D12EF2DA}" presName="vert2" presStyleCnt="0"/>
      <dgm:spPr/>
    </dgm:pt>
    <dgm:pt modelId="{308C7E2B-71C9-9340-A05D-1BF4AC4FA317}" type="pres">
      <dgm:prSet presAssocID="{D2B44D38-C2EC-064B-8D2B-E246D12EF2DA}" presName="thinLine2b" presStyleLbl="callout" presStyleIdx="1" presStyleCnt="8"/>
      <dgm:spPr/>
    </dgm:pt>
    <dgm:pt modelId="{C509028F-49AF-B947-B4FB-BC5F56B7069F}" type="pres">
      <dgm:prSet presAssocID="{D2B44D38-C2EC-064B-8D2B-E246D12EF2DA}" presName="vertSpace2b" presStyleCnt="0"/>
      <dgm:spPr/>
    </dgm:pt>
    <dgm:pt modelId="{0B1EDB9E-4329-E249-AE17-AF5FFE886313}" type="pres">
      <dgm:prSet presAssocID="{E073C468-E41E-2943-AE6A-013278F2CA3F}" presName="thickLine" presStyleLbl="alignNode1" presStyleIdx="2" presStyleCnt="4"/>
      <dgm:spPr/>
    </dgm:pt>
    <dgm:pt modelId="{11112F11-FEB7-D342-91E0-8BBFE2A29639}" type="pres">
      <dgm:prSet presAssocID="{E073C468-E41E-2943-AE6A-013278F2CA3F}" presName="horz1" presStyleCnt="0"/>
      <dgm:spPr/>
    </dgm:pt>
    <dgm:pt modelId="{F018C49A-D9F6-BE40-A6B8-DFA39344D69B}" type="pres">
      <dgm:prSet presAssocID="{E073C468-E41E-2943-AE6A-013278F2CA3F}" presName="tx1" presStyleLbl="revTx" presStyleIdx="4" presStyleCnt="12"/>
      <dgm:spPr/>
    </dgm:pt>
    <dgm:pt modelId="{7AA8209E-312B-4943-89D2-16433BBE3207}" type="pres">
      <dgm:prSet presAssocID="{E073C468-E41E-2943-AE6A-013278F2CA3F}" presName="vert1" presStyleCnt="0"/>
      <dgm:spPr/>
    </dgm:pt>
    <dgm:pt modelId="{9D62DC6E-B98C-4947-AEB4-BE2308ABA29A}" type="pres">
      <dgm:prSet presAssocID="{43727D01-7031-8C44-86CE-A487645A466D}" presName="vertSpace2a" presStyleCnt="0"/>
      <dgm:spPr/>
    </dgm:pt>
    <dgm:pt modelId="{69F114C1-6025-7C41-83BB-9AD76405C5CA}" type="pres">
      <dgm:prSet presAssocID="{43727D01-7031-8C44-86CE-A487645A466D}" presName="horz2" presStyleCnt="0"/>
      <dgm:spPr/>
    </dgm:pt>
    <dgm:pt modelId="{1AB7C39D-3752-1C4F-8722-C175778E041E}" type="pres">
      <dgm:prSet presAssocID="{43727D01-7031-8C44-86CE-A487645A466D}" presName="horzSpace2" presStyleCnt="0"/>
      <dgm:spPr/>
    </dgm:pt>
    <dgm:pt modelId="{3BF73C42-51B9-5147-9F8B-07D6C4CED623}" type="pres">
      <dgm:prSet presAssocID="{43727D01-7031-8C44-86CE-A487645A466D}" presName="tx2" presStyleLbl="revTx" presStyleIdx="5" presStyleCnt="12"/>
      <dgm:spPr/>
    </dgm:pt>
    <dgm:pt modelId="{0E90029C-95FE-6342-B49F-0F7E17FA1CD1}" type="pres">
      <dgm:prSet presAssocID="{43727D01-7031-8C44-86CE-A487645A466D}" presName="vert2" presStyleCnt="0"/>
      <dgm:spPr/>
    </dgm:pt>
    <dgm:pt modelId="{50DC4F02-3B1B-BF40-85FF-BD535EC63F34}" type="pres">
      <dgm:prSet presAssocID="{43727D01-7031-8C44-86CE-A487645A466D}" presName="thinLine2b" presStyleLbl="callout" presStyleIdx="2" presStyleCnt="8"/>
      <dgm:spPr/>
    </dgm:pt>
    <dgm:pt modelId="{0BF2AD93-F258-224A-9F3E-63A2410DF585}" type="pres">
      <dgm:prSet presAssocID="{43727D01-7031-8C44-86CE-A487645A466D}" presName="vertSpace2b" presStyleCnt="0"/>
      <dgm:spPr/>
    </dgm:pt>
    <dgm:pt modelId="{5BD3FA61-2198-334B-9CD6-620418ABD0AB}" type="pres">
      <dgm:prSet presAssocID="{2564D74B-5DE6-EB44-8A9D-02CC898BC680}" presName="horz2" presStyleCnt="0"/>
      <dgm:spPr/>
    </dgm:pt>
    <dgm:pt modelId="{AB1751BF-F333-E646-8C32-20157420D732}" type="pres">
      <dgm:prSet presAssocID="{2564D74B-5DE6-EB44-8A9D-02CC898BC680}" presName="horzSpace2" presStyleCnt="0"/>
      <dgm:spPr/>
    </dgm:pt>
    <dgm:pt modelId="{8D018946-6C61-F645-A6A9-4077789576FA}" type="pres">
      <dgm:prSet presAssocID="{2564D74B-5DE6-EB44-8A9D-02CC898BC680}" presName="tx2" presStyleLbl="revTx" presStyleIdx="6" presStyleCnt="12"/>
      <dgm:spPr/>
    </dgm:pt>
    <dgm:pt modelId="{B0B9E88F-76ED-054A-841B-7AE1BDDD5F44}" type="pres">
      <dgm:prSet presAssocID="{2564D74B-5DE6-EB44-8A9D-02CC898BC680}" presName="vert2" presStyleCnt="0"/>
      <dgm:spPr/>
    </dgm:pt>
    <dgm:pt modelId="{B0C155C0-4606-1F4D-BD34-306B995F2EF8}" type="pres">
      <dgm:prSet presAssocID="{2564D74B-5DE6-EB44-8A9D-02CC898BC680}" presName="thinLine2b" presStyleLbl="callout" presStyleIdx="3" presStyleCnt="8"/>
      <dgm:spPr/>
    </dgm:pt>
    <dgm:pt modelId="{7BD9E20F-633C-4148-81E8-C8B3D2B682D7}" type="pres">
      <dgm:prSet presAssocID="{2564D74B-5DE6-EB44-8A9D-02CC898BC680}" presName="vertSpace2b" presStyleCnt="0"/>
      <dgm:spPr/>
    </dgm:pt>
    <dgm:pt modelId="{45724651-182F-F948-AD14-531A5B5788AD}" type="pres">
      <dgm:prSet presAssocID="{C0ECE7E3-48E1-A34B-A351-8ECA45827210}" presName="horz2" presStyleCnt="0"/>
      <dgm:spPr/>
    </dgm:pt>
    <dgm:pt modelId="{4DB2639E-FF49-C544-A3E1-15D14F1D99B5}" type="pres">
      <dgm:prSet presAssocID="{C0ECE7E3-48E1-A34B-A351-8ECA45827210}" presName="horzSpace2" presStyleCnt="0"/>
      <dgm:spPr/>
    </dgm:pt>
    <dgm:pt modelId="{17286D33-6034-4B4F-9BD9-8DC7903AE237}" type="pres">
      <dgm:prSet presAssocID="{C0ECE7E3-48E1-A34B-A351-8ECA45827210}" presName="tx2" presStyleLbl="revTx" presStyleIdx="7" presStyleCnt="12"/>
      <dgm:spPr/>
    </dgm:pt>
    <dgm:pt modelId="{295E091B-D21E-8348-8828-46CF616AC1A5}" type="pres">
      <dgm:prSet presAssocID="{C0ECE7E3-48E1-A34B-A351-8ECA45827210}" presName="vert2" presStyleCnt="0"/>
      <dgm:spPr/>
    </dgm:pt>
    <dgm:pt modelId="{4E946A9C-F645-2D40-806D-B395DAC93818}" type="pres">
      <dgm:prSet presAssocID="{C0ECE7E3-48E1-A34B-A351-8ECA45827210}" presName="thinLine2b" presStyleLbl="callout" presStyleIdx="4" presStyleCnt="8"/>
      <dgm:spPr/>
    </dgm:pt>
    <dgm:pt modelId="{6934404B-025F-6C49-BD1B-80436003A467}" type="pres">
      <dgm:prSet presAssocID="{C0ECE7E3-48E1-A34B-A351-8ECA45827210}" presName="vertSpace2b" presStyleCnt="0"/>
      <dgm:spPr/>
    </dgm:pt>
    <dgm:pt modelId="{169A57DF-FD83-7640-B31F-C7891049E548}" type="pres">
      <dgm:prSet presAssocID="{A0F0566F-2619-3545-A910-FD23E0A21A1A}" presName="thickLine" presStyleLbl="alignNode1" presStyleIdx="3" presStyleCnt="4"/>
      <dgm:spPr/>
    </dgm:pt>
    <dgm:pt modelId="{E59D754F-1AA7-644E-A412-80882468FB1C}" type="pres">
      <dgm:prSet presAssocID="{A0F0566F-2619-3545-A910-FD23E0A21A1A}" presName="horz1" presStyleCnt="0"/>
      <dgm:spPr/>
    </dgm:pt>
    <dgm:pt modelId="{BDE2516A-753D-2640-BE74-A5B9820ECAD1}" type="pres">
      <dgm:prSet presAssocID="{A0F0566F-2619-3545-A910-FD23E0A21A1A}" presName="tx1" presStyleLbl="revTx" presStyleIdx="8" presStyleCnt="12"/>
      <dgm:spPr/>
    </dgm:pt>
    <dgm:pt modelId="{AE3C5631-176B-8148-8F3C-30773B1210A6}" type="pres">
      <dgm:prSet presAssocID="{A0F0566F-2619-3545-A910-FD23E0A21A1A}" presName="vert1" presStyleCnt="0"/>
      <dgm:spPr/>
    </dgm:pt>
    <dgm:pt modelId="{137FA9E9-110A-0B43-92C2-BAFA5FA281CB}" type="pres">
      <dgm:prSet presAssocID="{68F385F9-4057-834E-A20F-F57B6CF91FC5}" presName="vertSpace2a" presStyleCnt="0"/>
      <dgm:spPr/>
    </dgm:pt>
    <dgm:pt modelId="{CE247073-231E-FB41-B2B1-D89F9840482E}" type="pres">
      <dgm:prSet presAssocID="{68F385F9-4057-834E-A20F-F57B6CF91FC5}" presName="horz2" presStyleCnt="0"/>
      <dgm:spPr/>
    </dgm:pt>
    <dgm:pt modelId="{00AE9238-DE56-E64C-8DA6-EA18F08498D0}" type="pres">
      <dgm:prSet presAssocID="{68F385F9-4057-834E-A20F-F57B6CF91FC5}" presName="horzSpace2" presStyleCnt="0"/>
      <dgm:spPr/>
    </dgm:pt>
    <dgm:pt modelId="{2D662902-04D0-BA40-B12C-D99C46F9B9BC}" type="pres">
      <dgm:prSet presAssocID="{68F385F9-4057-834E-A20F-F57B6CF91FC5}" presName="tx2" presStyleLbl="revTx" presStyleIdx="9" presStyleCnt="12"/>
      <dgm:spPr/>
    </dgm:pt>
    <dgm:pt modelId="{81DA570A-4C71-1A45-9164-511A38F19F9A}" type="pres">
      <dgm:prSet presAssocID="{68F385F9-4057-834E-A20F-F57B6CF91FC5}" presName="vert2" presStyleCnt="0"/>
      <dgm:spPr/>
    </dgm:pt>
    <dgm:pt modelId="{E8F0755F-0F7A-D040-85B7-72201FC55689}" type="pres">
      <dgm:prSet presAssocID="{68F385F9-4057-834E-A20F-F57B6CF91FC5}" presName="thinLine2b" presStyleLbl="callout" presStyleIdx="5" presStyleCnt="8"/>
      <dgm:spPr/>
    </dgm:pt>
    <dgm:pt modelId="{C80CE933-1063-674A-9E27-3A50A58DD470}" type="pres">
      <dgm:prSet presAssocID="{68F385F9-4057-834E-A20F-F57B6CF91FC5}" presName="vertSpace2b" presStyleCnt="0"/>
      <dgm:spPr/>
    </dgm:pt>
    <dgm:pt modelId="{D158CB42-D68A-3A40-857F-EFBFE691F162}" type="pres">
      <dgm:prSet presAssocID="{51DA6697-FFF0-0B4A-B37B-23E349430D3C}" presName="horz2" presStyleCnt="0"/>
      <dgm:spPr/>
    </dgm:pt>
    <dgm:pt modelId="{7C6009C0-F8E0-4841-9EBE-8930DEC03DF5}" type="pres">
      <dgm:prSet presAssocID="{51DA6697-FFF0-0B4A-B37B-23E349430D3C}" presName="horzSpace2" presStyleCnt="0"/>
      <dgm:spPr/>
    </dgm:pt>
    <dgm:pt modelId="{AC40D483-7D5F-A54F-9B55-AC41C09E7557}" type="pres">
      <dgm:prSet presAssocID="{51DA6697-FFF0-0B4A-B37B-23E349430D3C}" presName="tx2" presStyleLbl="revTx" presStyleIdx="10" presStyleCnt="12"/>
      <dgm:spPr/>
    </dgm:pt>
    <dgm:pt modelId="{2E87D9A3-E087-4141-8373-E42BE11E6A35}" type="pres">
      <dgm:prSet presAssocID="{51DA6697-FFF0-0B4A-B37B-23E349430D3C}" presName="vert2" presStyleCnt="0"/>
      <dgm:spPr/>
    </dgm:pt>
    <dgm:pt modelId="{502910B5-B9A3-7B40-AA8F-408E1AED23E3}" type="pres">
      <dgm:prSet presAssocID="{51DA6697-FFF0-0B4A-B37B-23E349430D3C}" presName="thinLine2b" presStyleLbl="callout" presStyleIdx="6" presStyleCnt="8"/>
      <dgm:spPr/>
    </dgm:pt>
    <dgm:pt modelId="{5F44F4AE-B1B4-F144-8919-3BB1ABDEB4B9}" type="pres">
      <dgm:prSet presAssocID="{51DA6697-FFF0-0B4A-B37B-23E349430D3C}" presName="vertSpace2b" presStyleCnt="0"/>
      <dgm:spPr/>
    </dgm:pt>
    <dgm:pt modelId="{A0A75947-BB42-304C-84CC-577269DBB438}" type="pres">
      <dgm:prSet presAssocID="{DA4BC40B-BE17-6D42-978E-C79E5C1BA400}" presName="horz2" presStyleCnt="0"/>
      <dgm:spPr/>
    </dgm:pt>
    <dgm:pt modelId="{38C0913A-7E6A-1442-B040-A054EFDF888E}" type="pres">
      <dgm:prSet presAssocID="{DA4BC40B-BE17-6D42-978E-C79E5C1BA400}" presName="horzSpace2" presStyleCnt="0"/>
      <dgm:spPr/>
    </dgm:pt>
    <dgm:pt modelId="{016BEDC1-1C15-0A40-B610-5EFE5B4314CC}" type="pres">
      <dgm:prSet presAssocID="{DA4BC40B-BE17-6D42-978E-C79E5C1BA400}" presName="tx2" presStyleLbl="revTx" presStyleIdx="11" presStyleCnt="12"/>
      <dgm:spPr/>
    </dgm:pt>
    <dgm:pt modelId="{A4DD8027-768A-7E45-ADBC-E261218F7C2A}" type="pres">
      <dgm:prSet presAssocID="{DA4BC40B-BE17-6D42-978E-C79E5C1BA400}" presName="vert2" presStyleCnt="0"/>
      <dgm:spPr/>
    </dgm:pt>
    <dgm:pt modelId="{4F83D7DA-9C6C-F34F-83E9-66639115456F}" type="pres">
      <dgm:prSet presAssocID="{DA4BC40B-BE17-6D42-978E-C79E5C1BA400}" presName="thinLine2b" presStyleLbl="callout" presStyleIdx="7" presStyleCnt="8"/>
      <dgm:spPr/>
    </dgm:pt>
    <dgm:pt modelId="{B9B8151F-D682-064E-8923-0F640F168BED}" type="pres">
      <dgm:prSet presAssocID="{DA4BC40B-BE17-6D42-978E-C79E5C1BA400}" presName="vertSpace2b" presStyleCnt="0"/>
      <dgm:spPr/>
    </dgm:pt>
  </dgm:ptLst>
  <dgm:cxnLst>
    <dgm:cxn modelId="{72011C02-BCFB-7B44-B66F-A1EBC594E7FC}" srcId="{A0F0566F-2619-3545-A910-FD23E0A21A1A}" destId="{DA4BC40B-BE17-6D42-978E-C79E5C1BA400}" srcOrd="2" destOrd="0" parTransId="{8D575549-778E-7242-B81A-7BACE2AB0733}" sibTransId="{AE96205B-4017-3B41-9861-FABAFE67CFBB}"/>
    <dgm:cxn modelId="{C8BF1404-11AF-480F-8668-46368F1D8C9B}" srcId="{7BC2DB20-EFFD-4E7B-93C1-553BACDC4218}" destId="{5CB291CD-C87A-4E73-A31F-A5E8DC48EC04}" srcOrd="0" destOrd="0" parTransId="{E99F5492-A06F-4526-99D6-3D5D0DAAB8D2}" sibTransId="{EB8001B5-1F3F-4B4C-99B7-5E44380F79E6}"/>
    <dgm:cxn modelId="{744AD923-5AC2-FF44-BF5A-4DA3DAC38D6E}" srcId="{5CB291CD-C87A-4E73-A31F-A5E8DC48EC04}" destId="{36563EE1-3303-2E4E-95E5-5B45720A99FB}" srcOrd="0" destOrd="0" parTransId="{F10C2558-B2A1-F546-9407-638C3A041175}" sibTransId="{6D3563EE-58B2-384B-82D4-175E1085DD0E}"/>
    <dgm:cxn modelId="{C7E72638-0779-B840-AB04-3BEBCB4C9C29}" srcId="{E073C468-E41E-2943-AE6A-013278F2CA3F}" destId="{C0ECE7E3-48E1-A34B-A351-8ECA45827210}" srcOrd="2" destOrd="0" parTransId="{022460AC-734F-3C47-BB6E-B8771E928ED7}" sibTransId="{6ADD31A4-A4AF-DB44-8835-291032E06EF9}"/>
    <dgm:cxn modelId="{A9EA0F3B-3159-7643-B00D-567B7147D77B}" srcId="{A0F0566F-2619-3545-A910-FD23E0A21A1A}" destId="{68F385F9-4057-834E-A20F-F57B6CF91FC5}" srcOrd="0" destOrd="0" parTransId="{307D8BBB-9D6B-D04C-91BA-6F7A02EA434A}" sibTransId="{A98BB89A-24CB-A646-962B-0AF4A9C85ADB}"/>
    <dgm:cxn modelId="{AE225F4E-994F-6C46-940E-B1C4DC3CFB40}" type="presOf" srcId="{7BC2DB20-EFFD-4E7B-93C1-553BACDC4218}" destId="{5AFAD1DF-8125-0B46-8557-A6D7E19525BF}" srcOrd="0" destOrd="0" presId="urn:microsoft.com/office/officeart/2008/layout/LinedList"/>
    <dgm:cxn modelId="{F5BEF455-C8A8-314B-ACB1-61A9E0D000E3}" type="presOf" srcId="{4E5DBD65-3BE7-1846-A98B-190CFAD32DB4}" destId="{E6F183D0-80B9-0C44-A78F-76FF6CB4253F}" srcOrd="0" destOrd="0" presId="urn:microsoft.com/office/officeart/2008/layout/LinedList"/>
    <dgm:cxn modelId="{5124FF58-D931-AA48-8CB8-F46C4CAB28FF}" type="presOf" srcId="{D2B44D38-C2EC-064B-8D2B-E246D12EF2DA}" destId="{200C9193-58CD-C346-A9C8-98FC07617D14}" srcOrd="0" destOrd="0" presId="urn:microsoft.com/office/officeart/2008/layout/LinedList"/>
    <dgm:cxn modelId="{6A16176F-AE13-AD4E-A64E-4E627F882ED9}" srcId="{7BC2DB20-EFFD-4E7B-93C1-553BACDC4218}" destId="{E073C468-E41E-2943-AE6A-013278F2CA3F}" srcOrd="2" destOrd="0" parTransId="{8E73610A-9E49-F448-BC70-8C2C97676B2B}" sibTransId="{53B47D3F-DE28-3245-8303-F615A58C3019}"/>
    <dgm:cxn modelId="{DA20EC70-568C-704A-AED3-BC9303BB1602}" srcId="{4E5DBD65-3BE7-1846-A98B-190CFAD32DB4}" destId="{D2B44D38-C2EC-064B-8D2B-E246D12EF2DA}" srcOrd="0" destOrd="0" parTransId="{53FD20FE-5E6C-BB44-A7D1-620FE2331489}" sibTransId="{1DFFE7CA-D171-954A-8CA1-5381C5329D5D}"/>
    <dgm:cxn modelId="{44CD8C71-1CF8-5C4A-BF62-2469C298A83B}" srcId="{7BC2DB20-EFFD-4E7B-93C1-553BACDC4218}" destId="{4E5DBD65-3BE7-1846-A98B-190CFAD32DB4}" srcOrd="1" destOrd="0" parTransId="{ED90EE24-02A9-2947-9DD3-48C92FE24D49}" sibTransId="{7CE57DF0-1362-EE4E-BD5F-85BD287B4FB4}"/>
    <dgm:cxn modelId="{E955777C-C821-3943-A26D-D3B83DBE8A08}" type="presOf" srcId="{2564D74B-5DE6-EB44-8A9D-02CC898BC680}" destId="{8D018946-6C61-F645-A6A9-4077789576FA}" srcOrd="0" destOrd="0" presId="urn:microsoft.com/office/officeart/2008/layout/LinedList"/>
    <dgm:cxn modelId="{7DED3194-A9F8-C940-B25E-ACF1731E8C06}" type="presOf" srcId="{E073C468-E41E-2943-AE6A-013278F2CA3F}" destId="{F018C49A-D9F6-BE40-A6B8-DFA39344D69B}" srcOrd="0" destOrd="0" presId="urn:microsoft.com/office/officeart/2008/layout/LinedList"/>
    <dgm:cxn modelId="{F2F7649C-489B-C04F-AF20-08DA3E3B98E3}" srcId="{E073C468-E41E-2943-AE6A-013278F2CA3F}" destId="{43727D01-7031-8C44-86CE-A487645A466D}" srcOrd="0" destOrd="0" parTransId="{31C36D00-E969-A242-8BEF-49541849E3E8}" sibTransId="{91004FF2-BDA4-1C48-9A45-A9867164B43A}"/>
    <dgm:cxn modelId="{B98D6F9F-A290-204E-BD26-18ACAB442E62}" type="presOf" srcId="{A0F0566F-2619-3545-A910-FD23E0A21A1A}" destId="{BDE2516A-753D-2640-BE74-A5B9820ECAD1}" srcOrd="0" destOrd="0" presId="urn:microsoft.com/office/officeart/2008/layout/LinedList"/>
    <dgm:cxn modelId="{E06EB7A4-145D-EC4F-A5EA-ECD971E7A2C6}" type="presOf" srcId="{51DA6697-FFF0-0B4A-B37B-23E349430D3C}" destId="{AC40D483-7D5F-A54F-9B55-AC41C09E7557}" srcOrd="0" destOrd="0" presId="urn:microsoft.com/office/officeart/2008/layout/LinedList"/>
    <dgm:cxn modelId="{B4B520A8-DB01-B540-B7DC-D3BC2F917826}" type="presOf" srcId="{43727D01-7031-8C44-86CE-A487645A466D}" destId="{3BF73C42-51B9-5147-9F8B-07D6C4CED623}" srcOrd="0" destOrd="0" presId="urn:microsoft.com/office/officeart/2008/layout/LinedList"/>
    <dgm:cxn modelId="{0CF750AE-88CB-9B41-B061-CA841F533416}" srcId="{A0F0566F-2619-3545-A910-FD23E0A21A1A}" destId="{51DA6697-FFF0-0B4A-B37B-23E349430D3C}" srcOrd="1" destOrd="0" parTransId="{A8021102-C207-674C-A9B1-D7DDC27B8D83}" sibTransId="{36FFB132-35C9-4740-B665-1A36C895F1F9}"/>
    <dgm:cxn modelId="{47FA86BB-5716-CD4F-8183-A4194EBED99C}" type="presOf" srcId="{68F385F9-4057-834E-A20F-F57B6CF91FC5}" destId="{2D662902-04D0-BA40-B12C-D99C46F9B9BC}" srcOrd="0" destOrd="0" presId="urn:microsoft.com/office/officeart/2008/layout/LinedList"/>
    <dgm:cxn modelId="{C9073FD0-A4B4-844A-ACE6-DC6F837231EC}" type="presOf" srcId="{36563EE1-3303-2E4E-95E5-5B45720A99FB}" destId="{4F86EE73-8E24-B847-BBFF-7EBE8BB88999}" srcOrd="0" destOrd="0" presId="urn:microsoft.com/office/officeart/2008/layout/LinedList"/>
    <dgm:cxn modelId="{A98FDBD2-30AF-884F-94A8-80B93297273B}" srcId="{E073C468-E41E-2943-AE6A-013278F2CA3F}" destId="{2564D74B-5DE6-EB44-8A9D-02CC898BC680}" srcOrd="1" destOrd="0" parTransId="{C923015D-3AE5-CA40-AFC2-B332D7CC7E7B}" sibTransId="{8EFBB28A-FE2F-4E4A-A23B-E5B952FDB2C5}"/>
    <dgm:cxn modelId="{01629BD7-1857-8F4C-8366-2CF75B04FA23}" type="presOf" srcId="{C0ECE7E3-48E1-A34B-A351-8ECA45827210}" destId="{17286D33-6034-4B4F-9BD9-8DC7903AE237}" srcOrd="0" destOrd="0" presId="urn:microsoft.com/office/officeart/2008/layout/LinedList"/>
    <dgm:cxn modelId="{3D6B65D8-11D7-7545-9070-5970C3BF6CAD}" type="presOf" srcId="{5CB291CD-C87A-4E73-A31F-A5E8DC48EC04}" destId="{8543774D-B1FB-5B43-855E-CC9D9A4FD068}" srcOrd="0" destOrd="0" presId="urn:microsoft.com/office/officeart/2008/layout/LinedList"/>
    <dgm:cxn modelId="{E136ACDA-7285-644F-B7D5-ED13E9EFE500}" type="presOf" srcId="{DA4BC40B-BE17-6D42-978E-C79E5C1BA400}" destId="{016BEDC1-1C15-0A40-B610-5EFE5B4314CC}" srcOrd="0" destOrd="0" presId="urn:microsoft.com/office/officeart/2008/layout/LinedList"/>
    <dgm:cxn modelId="{09506EF1-06B5-6844-9811-91B3747509FE}" srcId="{7BC2DB20-EFFD-4E7B-93C1-553BACDC4218}" destId="{A0F0566F-2619-3545-A910-FD23E0A21A1A}" srcOrd="3" destOrd="0" parTransId="{F50591CF-F28C-4840-AFB4-BC739FA23B24}" sibTransId="{718978D9-C128-0D4C-BCDD-589F10A4A4A9}"/>
    <dgm:cxn modelId="{A038099C-0BCE-854F-99DD-68140F3C32BA}" type="presParOf" srcId="{5AFAD1DF-8125-0B46-8557-A6D7E19525BF}" destId="{C34A7079-C8CD-C244-9DED-F8BE3FC1C856}" srcOrd="0" destOrd="0" presId="urn:microsoft.com/office/officeart/2008/layout/LinedList"/>
    <dgm:cxn modelId="{F1BB0BC8-80F0-3545-8415-E48D5FCCE05C}" type="presParOf" srcId="{5AFAD1DF-8125-0B46-8557-A6D7E19525BF}" destId="{DF9FF762-0BC5-E846-931E-B91CA0560DC0}" srcOrd="1" destOrd="0" presId="urn:microsoft.com/office/officeart/2008/layout/LinedList"/>
    <dgm:cxn modelId="{69C87FFD-731A-4C42-B14F-EA5F4611BCB7}" type="presParOf" srcId="{DF9FF762-0BC5-E846-931E-B91CA0560DC0}" destId="{8543774D-B1FB-5B43-855E-CC9D9A4FD068}" srcOrd="0" destOrd="0" presId="urn:microsoft.com/office/officeart/2008/layout/LinedList"/>
    <dgm:cxn modelId="{1FDE438A-5E88-B24E-93C6-8F235F9FFC57}" type="presParOf" srcId="{DF9FF762-0BC5-E846-931E-B91CA0560DC0}" destId="{98160F31-3556-2245-A224-19BDA49B3202}" srcOrd="1" destOrd="0" presId="urn:microsoft.com/office/officeart/2008/layout/LinedList"/>
    <dgm:cxn modelId="{8120E680-B563-4F45-9727-3861E0750EAF}" type="presParOf" srcId="{98160F31-3556-2245-A224-19BDA49B3202}" destId="{5874F509-52D1-D243-A99A-500EC3330490}" srcOrd="0" destOrd="0" presId="urn:microsoft.com/office/officeart/2008/layout/LinedList"/>
    <dgm:cxn modelId="{D9039A7B-EFC8-714F-9548-47C1C92FB952}" type="presParOf" srcId="{98160F31-3556-2245-A224-19BDA49B3202}" destId="{95C5496A-0264-4C44-A395-6BEB2D1095F0}" srcOrd="1" destOrd="0" presId="urn:microsoft.com/office/officeart/2008/layout/LinedList"/>
    <dgm:cxn modelId="{9E42E2C7-CCD6-B347-885D-1585DF1ADB7E}" type="presParOf" srcId="{95C5496A-0264-4C44-A395-6BEB2D1095F0}" destId="{534E5DE6-094C-D140-8B31-E03932E8D4C8}" srcOrd="0" destOrd="0" presId="urn:microsoft.com/office/officeart/2008/layout/LinedList"/>
    <dgm:cxn modelId="{2C99E0BB-A933-7A42-95B3-E9A04FA8B582}" type="presParOf" srcId="{95C5496A-0264-4C44-A395-6BEB2D1095F0}" destId="{4F86EE73-8E24-B847-BBFF-7EBE8BB88999}" srcOrd="1" destOrd="0" presId="urn:microsoft.com/office/officeart/2008/layout/LinedList"/>
    <dgm:cxn modelId="{B1BCBA36-B067-4F49-885F-83B8F9F57F42}" type="presParOf" srcId="{95C5496A-0264-4C44-A395-6BEB2D1095F0}" destId="{DF5F9E38-D77A-BF4F-B725-9EFD69EE273F}" srcOrd="2" destOrd="0" presId="urn:microsoft.com/office/officeart/2008/layout/LinedList"/>
    <dgm:cxn modelId="{25A01657-0D98-5147-9CE0-658134C01085}" type="presParOf" srcId="{98160F31-3556-2245-A224-19BDA49B3202}" destId="{2FBCA2DD-3198-B54B-8721-31EE45D15FFC}" srcOrd="2" destOrd="0" presId="urn:microsoft.com/office/officeart/2008/layout/LinedList"/>
    <dgm:cxn modelId="{793E5544-96AB-654D-BF7E-E96C0E0164A0}" type="presParOf" srcId="{98160F31-3556-2245-A224-19BDA49B3202}" destId="{58DFB121-E609-6546-B22D-A183426E4766}" srcOrd="3" destOrd="0" presId="urn:microsoft.com/office/officeart/2008/layout/LinedList"/>
    <dgm:cxn modelId="{E2BC147A-1220-6E42-9A15-18C097665844}" type="presParOf" srcId="{5AFAD1DF-8125-0B46-8557-A6D7E19525BF}" destId="{CB9A10EC-A9D6-6C45-A31E-6CF1BC757450}" srcOrd="2" destOrd="0" presId="urn:microsoft.com/office/officeart/2008/layout/LinedList"/>
    <dgm:cxn modelId="{AF5A884A-9769-534F-8862-DBC52B4EF183}" type="presParOf" srcId="{5AFAD1DF-8125-0B46-8557-A6D7E19525BF}" destId="{92872658-8B02-A741-A1C8-81BDF6F9F36A}" srcOrd="3" destOrd="0" presId="urn:microsoft.com/office/officeart/2008/layout/LinedList"/>
    <dgm:cxn modelId="{E8BAB22D-1379-A240-BE8F-7065F5344336}" type="presParOf" srcId="{92872658-8B02-A741-A1C8-81BDF6F9F36A}" destId="{E6F183D0-80B9-0C44-A78F-76FF6CB4253F}" srcOrd="0" destOrd="0" presId="urn:microsoft.com/office/officeart/2008/layout/LinedList"/>
    <dgm:cxn modelId="{305EAE0B-0988-254F-89DD-75610D111EE5}" type="presParOf" srcId="{92872658-8B02-A741-A1C8-81BDF6F9F36A}" destId="{DE898DD3-809C-DB41-880D-444E72F314AD}" srcOrd="1" destOrd="0" presId="urn:microsoft.com/office/officeart/2008/layout/LinedList"/>
    <dgm:cxn modelId="{4A355F89-02F5-7440-A159-E01EDC7B3E4A}" type="presParOf" srcId="{DE898DD3-809C-DB41-880D-444E72F314AD}" destId="{0A9403A1-8F8F-D448-8A0E-A467D543521C}" srcOrd="0" destOrd="0" presId="urn:microsoft.com/office/officeart/2008/layout/LinedList"/>
    <dgm:cxn modelId="{60F00F2C-6FCE-D84A-B5B6-DFA41F295E53}" type="presParOf" srcId="{DE898DD3-809C-DB41-880D-444E72F314AD}" destId="{995EC3A1-E588-624A-A310-87084625F806}" srcOrd="1" destOrd="0" presId="urn:microsoft.com/office/officeart/2008/layout/LinedList"/>
    <dgm:cxn modelId="{19E723C7-E727-8F47-ABE6-61D40FC09F22}" type="presParOf" srcId="{995EC3A1-E588-624A-A310-87084625F806}" destId="{9F4BF2C7-90D0-0E49-ACF1-1F3B8411F3F7}" srcOrd="0" destOrd="0" presId="urn:microsoft.com/office/officeart/2008/layout/LinedList"/>
    <dgm:cxn modelId="{F83CA3E8-6023-274D-BDC3-F8D121A21E9B}" type="presParOf" srcId="{995EC3A1-E588-624A-A310-87084625F806}" destId="{200C9193-58CD-C346-A9C8-98FC07617D14}" srcOrd="1" destOrd="0" presId="urn:microsoft.com/office/officeart/2008/layout/LinedList"/>
    <dgm:cxn modelId="{FF52E70F-4292-0F44-B2F0-A69D9C7132FE}" type="presParOf" srcId="{995EC3A1-E588-624A-A310-87084625F806}" destId="{A0BB33D9-C79F-6446-85BD-C857DDCA6A4F}" srcOrd="2" destOrd="0" presId="urn:microsoft.com/office/officeart/2008/layout/LinedList"/>
    <dgm:cxn modelId="{9AEC22D5-757F-0B4B-8D6A-AC2037296241}" type="presParOf" srcId="{DE898DD3-809C-DB41-880D-444E72F314AD}" destId="{308C7E2B-71C9-9340-A05D-1BF4AC4FA317}" srcOrd="2" destOrd="0" presId="urn:microsoft.com/office/officeart/2008/layout/LinedList"/>
    <dgm:cxn modelId="{4EDB25F5-3F64-1442-8B6A-53AA81FF2617}" type="presParOf" srcId="{DE898DD3-809C-DB41-880D-444E72F314AD}" destId="{C509028F-49AF-B947-B4FB-BC5F56B7069F}" srcOrd="3" destOrd="0" presId="urn:microsoft.com/office/officeart/2008/layout/LinedList"/>
    <dgm:cxn modelId="{EF8E17AC-96D7-714B-B9C7-24B34D6925A4}" type="presParOf" srcId="{5AFAD1DF-8125-0B46-8557-A6D7E19525BF}" destId="{0B1EDB9E-4329-E249-AE17-AF5FFE886313}" srcOrd="4" destOrd="0" presId="urn:microsoft.com/office/officeart/2008/layout/LinedList"/>
    <dgm:cxn modelId="{D94B47DB-E2FB-B44A-8EC2-6FAAC7181922}" type="presParOf" srcId="{5AFAD1DF-8125-0B46-8557-A6D7E19525BF}" destId="{11112F11-FEB7-D342-91E0-8BBFE2A29639}" srcOrd="5" destOrd="0" presId="urn:microsoft.com/office/officeart/2008/layout/LinedList"/>
    <dgm:cxn modelId="{E2B662D9-66E2-C548-A3E4-656B199BBD57}" type="presParOf" srcId="{11112F11-FEB7-D342-91E0-8BBFE2A29639}" destId="{F018C49A-D9F6-BE40-A6B8-DFA39344D69B}" srcOrd="0" destOrd="0" presId="urn:microsoft.com/office/officeart/2008/layout/LinedList"/>
    <dgm:cxn modelId="{723D59D9-3673-9547-9776-A04CC0C63F82}" type="presParOf" srcId="{11112F11-FEB7-D342-91E0-8BBFE2A29639}" destId="{7AA8209E-312B-4943-89D2-16433BBE3207}" srcOrd="1" destOrd="0" presId="urn:microsoft.com/office/officeart/2008/layout/LinedList"/>
    <dgm:cxn modelId="{A42C3320-0AC2-4542-97C4-9406D5757E16}" type="presParOf" srcId="{7AA8209E-312B-4943-89D2-16433BBE3207}" destId="{9D62DC6E-B98C-4947-AEB4-BE2308ABA29A}" srcOrd="0" destOrd="0" presId="urn:microsoft.com/office/officeart/2008/layout/LinedList"/>
    <dgm:cxn modelId="{DAF70FCF-1C93-4540-8692-3C735835A3A4}" type="presParOf" srcId="{7AA8209E-312B-4943-89D2-16433BBE3207}" destId="{69F114C1-6025-7C41-83BB-9AD76405C5CA}" srcOrd="1" destOrd="0" presId="urn:microsoft.com/office/officeart/2008/layout/LinedList"/>
    <dgm:cxn modelId="{C864A5BE-A69B-684E-B094-6ED10EF0CE4F}" type="presParOf" srcId="{69F114C1-6025-7C41-83BB-9AD76405C5CA}" destId="{1AB7C39D-3752-1C4F-8722-C175778E041E}" srcOrd="0" destOrd="0" presId="urn:microsoft.com/office/officeart/2008/layout/LinedList"/>
    <dgm:cxn modelId="{C220C7A4-08F0-2342-A1C7-026BC5FDAE90}" type="presParOf" srcId="{69F114C1-6025-7C41-83BB-9AD76405C5CA}" destId="{3BF73C42-51B9-5147-9F8B-07D6C4CED623}" srcOrd="1" destOrd="0" presId="urn:microsoft.com/office/officeart/2008/layout/LinedList"/>
    <dgm:cxn modelId="{0345037A-CB2A-AC4B-BF65-702EFCEF6158}" type="presParOf" srcId="{69F114C1-6025-7C41-83BB-9AD76405C5CA}" destId="{0E90029C-95FE-6342-B49F-0F7E17FA1CD1}" srcOrd="2" destOrd="0" presId="urn:microsoft.com/office/officeart/2008/layout/LinedList"/>
    <dgm:cxn modelId="{C5EE8BE5-496A-F442-BE13-0E6E88C63762}" type="presParOf" srcId="{7AA8209E-312B-4943-89D2-16433BBE3207}" destId="{50DC4F02-3B1B-BF40-85FF-BD535EC63F34}" srcOrd="2" destOrd="0" presId="urn:microsoft.com/office/officeart/2008/layout/LinedList"/>
    <dgm:cxn modelId="{E7D524B2-4A3B-3143-95DB-64F480FD2302}" type="presParOf" srcId="{7AA8209E-312B-4943-89D2-16433BBE3207}" destId="{0BF2AD93-F258-224A-9F3E-63A2410DF585}" srcOrd="3" destOrd="0" presId="urn:microsoft.com/office/officeart/2008/layout/LinedList"/>
    <dgm:cxn modelId="{B571296B-B56F-F444-B543-65789041BB28}" type="presParOf" srcId="{7AA8209E-312B-4943-89D2-16433BBE3207}" destId="{5BD3FA61-2198-334B-9CD6-620418ABD0AB}" srcOrd="4" destOrd="0" presId="urn:microsoft.com/office/officeart/2008/layout/LinedList"/>
    <dgm:cxn modelId="{991C98F6-B02D-104B-B211-AE672CF62ACB}" type="presParOf" srcId="{5BD3FA61-2198-334B-9CD6-620418ABD0AB}" destId="{AB1751BF-F333-E646-8C32-20157420D732}" srcOrd="0" destOrd="0" presId="urn:microsoft.com/office/officeart/2008/layout/LinedList"/>
    <dgm:cxn modelId="{71CA5C05-5577-A542-986E-7096A53AB55F}" type="presParOf" srcId="{5BD3FA61-2198-334B-9CD6-620418ABD0AB}" destId="{8D018946-6C61-F645-A6A9-4077789576FA}" srcOrd="1" destOrd="0" presId="urn:microsoft.com/office/officeart/2008/layout/LinedList"/>
    <dgm:cxn modelId="{11CD150C-452B-684D-92DB-D3FD2C5E6B95}" type="presParOf" srcId="{5BD3FA61-2198-334B-9CD6-620418ABD0AB}" destId="{B0B9E88F-76ED-054A-841B-7AE1BDDD5F44}" srcOrd="2" destOrd="0" presId="urn:microsoft.com/office/officeart/2008/layout/LinedList"/>
    <dgm:cxn modelId="{60F65D1E-5831-AA48-BD17-A7B9D5DF7B78}" type="presParOf" srcId="{7AA8209E-312B-4943-89D2-16433BBE3207}" destId="{B0C155C0-4606-1F4D-BD34-306B995F2EF8}" srcOrd="5" destOrd="0" presId="urn:microsoft.com/office/officeart/2008/layout/LinedList"/>
    <dgm:cxn modelId="{F1FA87FB-C045-6049-83F6-B90BE125D7A9}" type="presParOf" srcId="{7AA8209E-312B-4943-89D2-16433BBE3207}" destId="{7BD9E20F-633C-4148-81E8-C8B3D2B682D7}" srcOrd="6" destOrd="0" presId="urn:microsoft.com/office/officeart/2008/layout/LinedList"/>
    <dgm:cxn modelId="{08755119-3D66-FC4D-AE36-306C2FC91294}" type="presParOf" srcId="{7AA8209E-312B-4943-89D2-16433BBE3207}" destId="{45724651-182F-F948-AD14-531A5B5788AD}" srcOrd="7" destOrd="0" presId="urn:microsoft.com/office/officeart/2008/layout/LinedList"/>
    <dgm:cxn modelId="{F4B459FE-3C74-5B4B-B190-CCAB8F63C5FF}" type="presParOf" srcId="{45724651-182F-F948-AD14-531A5B5788AD}" destId="{4DB2639E-FF49-C544-A3E1-15D14F1D99B5}" srcOrd="0" destOrd="0" presId="urn:microsoft.com/office/officeart/2008/layout/LinedList"/>
    <dgm:cxn modelId="{CC1EB856-0D78-8846-847B-983FDFF33D19}" type="presParOf" srcId="{45724651-182F-F948-AD14-531A5B5788AD}" destId="{17286D33-6034-4B4F-9BD9-8DC7903AE237}" srcOrd="1" destOrd="0" presId="urn:microsoft.com/office/officeart/2008/layout/LinedList"/>
    <dgm:cxn modelId="{5D895B7A-3705-BD42-BD22-3170004AA1A8}" type="presParOf" srcId="{45724651-182F-F948-AD14-531A5B5788AD}" destId="{295E091B-D21E-8348-8828-46CF616AC1A5}" srcOrd="2" destOrd="0" presId="urn:microsoft.com/office/officeart/2008/layout/LinedList"/>
    <dgm:cxn modelId="{05EEE1DF-07A1-D446-BADB-C61A255EA626}" type="presParOf" srcId="{7AA8209E-312B-4943-89D2-16433BBE3207}" destId="{4E946A9C-F645-2D40-806D-B395DAC93818}" srcOrd="8" destOrd="0" presId="urn:microsoft.com/office/officeart/2008/layout/LinedList"/>
    <dgm:cxn modelId="{764858A9-FE29-C146-A919-9CCE95ACC75B}" type="presParOf" srcId="{7AA8209E-312B-4943-89D2-16433BBE3207}" destId="{6934404B-025F-6C49-BD1B-80436003A467}" srcOrd="9" destOrd="0" presId="urn:microsoft.com/office/officeart/2008/layout/LinedList"/>
    <dgm:cxn modelId="{A7B72732-E61A-7B4C-AA7E-4F739E9240DC}" type="presParOf" srcId="{5AFAD1DF-8125-0B46-8557-A6D7E19525BF}" destId="{169A57DF-FD83-7640-B31F-C7891049E548}" srcOrd="6" destOrd="0" presId="urn:microsoft.com/office/officeart/2008/layout/LinedList"/>
    <dgm:cxn modelId="{9EEE2F25-BAE3-BF4F-96BB-C2663C937769}" type="presParOf" srcId="{5AFAD1DF-8125-0B46-8557-A6D7E19525BF}" destId="{E59D754F-1AA7-644E-A412-80882468FB1C}" srcOrd="7" destOrd="0" presId="urn:microsoft.com/office/officeart/2008/layout/LinedList"/>
    <dgm:cxn modelId="{A07354E1-5B39-9442-B3D4-A3AE8490DBB7}" type="presParOf" srcId="{E59D754F-1AA7-644E-A412-80882468FB1C}" destId="{BDE2516A-753D-2640-BE74-A5B9820ECAD1}" srcOrd="0" destOrd="0" presId="urn:microsoft.com/office/officeart/2008/layout/LinedList"/>
    <dgm:cxn modelId="{EA548EBD-EAB2-1F4D-9D3A-85FFBD5237D4}" type="presParOf" srcId="{E59D754F-1AA7-644E-A412-80882468FB1C}" destId="{AE3C5631-176B-8148-8F3C-30773B1210A6}" srcOrd="1" destOrd="0" presId="urn:microsoft.com/office/officeart/2008/layout/LinedList"/>
    <dgm:cxn modelId="{63BB8709-1317-A64C-B28B-ABE6B5AAA978}" type="presParOf" srcId="{AE3C5631-176B-8148-8F3C-30773B1210A6}" destId="{137FA9E9-110A-0B43-92C2-BAFA5FA281CB}" srcOrd="0" destOrd="0" presId="urn:microsoft.com/office/officeart/2008/layout/LinedList"/>
    <dgm:cxn modelId="{A5E1C34E-4537-9D45-9D8C-F923A91A4460}" type="presParOf" srcId="{AE3C5631-176B-8148-8F3C-30773B1210A6}" destId="{CE247073-231E-FB41-B2B1-D89F9840482E}" srcOrd="1" destOrd="0" presId="urn:microsoft.com/office/officeart/2008/layout/LinedList"/>
    <dgm:cxn modelId="{049C09A3-D38D-474B-91FA-C6385BBEFAC7}" type="presParOf" srcId="{CE247073-231E-FB41-B2B1-D89F9840482E}" destId="{00AE9238-DE56-E64C-8DA6-EA18F08498D0}" srcOrd="0" destOrd="0" presId="urn:microsoft.com/office/officeart/2008/layout/LinedList"/>
    <dgm:cxn modelId="{3A98DB7E-313C-D04C-A481-4CA698ABE7C2}" type="presParOf" srcId="{CE247073-231E-FB41-B2B1-D89F9840482E}" destId="{2D662902-04D0-BA40-B12C-D99C46F9B9BC}" srcOrd="1" destOrd="0" presId="urn:microsoft.com/office/officeart/2008/layout/LinedList"/>
    <dgm:cxn modelId="{7D55CAF5-3220-DC44-9E67-9BF3B179B89D}" type="presParOf" srcId="{CE247073-231E-FB41-B2B1-D89F9840482E}" destId="{81DA570A-4C71-1A45-9164-511A38F19F9A}" srcOrd="2" destOrd="0" presId="urn:microsoft.com/office/officeart/2008/layout/LinedList"/>
    <dgm:cxn modelId="{1CCAE7C4-6FA4-2D44-B94B-F7FC45AD60C5}" type="presParOf" srcId="{AE3C5631-176B-8148-8F3C-30773B1210A6}" destId="{E8F0755F-0F7A-D040-85B7-72201FC55689}" srcOrd="2" destOrd="0" presId="urn:microsoft.com/office/officeart/2008/layout/LinedList"/>
    <dgm:cxn modelId="{60A7D6F8-1965-EE40-AEBB-1C871258B381}" type="presParOf" srcId="{AE3C5631-176B-8148-8F3C-30773B1210A6}" destId="{C80CE933-1063-674A-9E27-3A50A58DD470}" srcOrd="3" destOrd="0" presId="urn:microsoft.com/office/officeart/2008/layout/LinedList"/>
    <dgm:cxn modelId="{836C3070-3FCC-6E4A-801F-7D414020009F}" type="presParOf" srcId="{AE3C5631-176B-8148-8F3C-30773B1210A6}" destId="{D158CB42-D68A-3A40-857F-EFBFE691F162}" srcOrd="4" destOrd="0" presId="urn:microsoft.com/office/officeart/2008/layout/LinedList"/>
    <dgm:cxn modelId="{4BC2C9F4-54B0-EF42-BE48-19AB1A089983}" type="presParOf" srcId="{D158CB42-D68A-3A40-857F-EFBFE691F162}" destId="{7C6009C0-F8E0-4841-9EBE-8930DEC03DF5}" srcOrd="0" destOrd="0" presId="urn:microsoft.com/office/officeart/2008/layout/LinedList"/>
    <dgm:cxn modelId="{1CCC9501-B8A5-4C4A-BC53-03EAA6894608}" type="presParOf" srcId="{D158CB42-D68A-3A40-857F-EFBFE691F162}" destId="{AC40D483-7D5F-A54F-9B55-AC41C09E7557}" srcOrd="1" destOrd="0" presId="urn:microsoft.com/office/officeart/2008/layout/LinedList"/>
    <dgm:cxn modelId="{59C44D05-1A00-D547-9F08-DCD3C97991D5}" type="presParOf" srcId="{D158CB42-D68A-3A40-857F-EFBFE691F162}" destId="{2E87D9A3-E087-4141-8373-E42BE11E6A35}" srcOrd="2" destOrd="0" presId="urn:microsoft.com/office/officeart/2008/layout/LinedList"/>
    <dgm:cxn modelId="{E70DDB99-CA80-7F4D-9163-A7E55E96CB62}" type="presParOf" srcId="{AE3C5631-176B-8148-8F3C-30773B1210A6}" destId="{502910B5-B9A3-7B40-AA8F-408E1AED23E3}" srcOrd="5" destOrd="0" presId="urn:microsoft.com/office/officeart/2008/layout/LinedList"/>
    <dgm:cxn modelId="{C0646AEC-5D5B-8141-8F3B-12E77967A50C}" type="presParOf" srcId="{AE3C5631-176B-8148-8F3C-30773B1210A6}" destId="{5F44F4AE-B1B4-F144-8919-3BB1ABDEB4B9}" srcOrd="6" destOrd="0" presId="urn:microsoft.com/office/officeart/2008/layout/LinedList"/>
    <dgm:cxn modelId="{559CB36D-DF5C-F847-8615-0CA73309BFEC}" type="presParOf" srcId="{AE3C5631-176B-8148-8F3C-30773B1210A6}" destId="{A0A75947-BB42-304C-84CC-577269DBB438}" srcOrd="7" destOrd="0" presId="urn:microsoft.com/office/officeart/2008/layout/LinedList"/>
    <dgm:cxn modelId="{30A992E4-BCD8-2E48-8C71-5B0D789D8E0E}" type="presParOf" srcId="{A0A75947-BB42-304C-84CC-577269DBB438}" destId="{38C0913A-7E6A-1442-B040-A054EFDF888E}" srcOrd="0" destOrd="0" presId="urn:microsoft.com/office/officeart/2008/layout/LinedList"/>
    <dgm:cxn modelId="{4D346912-A610-ED40-BC24-4A339D0E908A}" type="presParOf" srcId="{A0A75947-BB42-304C-84CC-577269DBB438}" destId="{016BEDC1-1C15-0A40-B610-5EFE5B4314CC}" srcOrd="1" destOrd="0" presId="urn:microsoft.com/office/officeart/2008/layout/LinedList"/>
    <dgm:cxn modelId="{B27488C0-5B0E-9C4A-A10E-F363F37B9D45}" type="presParOf" srcId="{A0A75947-BB42-304C-84CC-577269DBB438}" destId="{A4DD8027-768A-7E45-ADBC-E261218F7C2A}" srcOrd="2" destOrd="0" presId="urn:microsoft.com/office/officeart/2008/layout/LinedList"/>
    <dgm:cxn modelId="{CAFD8C20-993D-D448-A77F-C21A45B0E2EC}" type="presParOf" srcId="{AE3C5631-176B-8148-8F3C-30773B1210A6}" destId="{4F83D7DA-9C6C-F34F-83E9-66639115456F}" srcOrd="8" destOrd="0" presId="urn:microsoft.com/office/officeart/2008/layout/LinedList"/>
    <dgm:cxn modelId="{F026338D-3620-B84C-895D-BFF7172CFA10}" type="presParOf" srcId="{AE3C5631-176B-8148-8F3C-30773B1210A6}" destId="{B9B8151F-D682-064E-8923-0F640F168BED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0E97F2-97AC-6F4D-B7BC-31712784AF3D}">
      <dsp:nvSpPr>
        <dsp:cNvPr id="0" name=""/>
        <dsp:cNvSpPr/>
      </dsp:nvSpPr>
      <dsp:spPr>
        <a:xfrm>
          <a:off x="0" y="1637"/>
          <a:ext cx="19050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AF5D1B2-BBCB-024C-AAC1-9ED629B4F963}">
      <dsp:nvSpPr>
        <dsp:cNvPr id="0" name=""/>
        <dsp:cNvSpPr/>
      </dsp:nvSpPr>
      <dsp:spPr>
        <a:xfrm>
          <a:off x="0" y="1637"/>
          <a:ext cx="1905001" cy="1116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000" kern="1200" dirty="0"/>
            <a:t>What are taxes?</a:t>
          </a:r>
          <a:endParaRPr lang="en-US" sz="2000" kern="1200" dirty="0"/>
        </a:p>
      </dsp:txBody>
      <dsp:txXfrm>
        <a:off x="0" y="1637"/>
        <a:ext cx="1905001" cy="1116508"/>
      </dsp:txXfrm>
    </dsp:sp>
    <dsp:sp modelId="{EC5B05C3-5E07-8247-81BA-5D88035DB418}">
      <dsp:nvSpPr>
        <dsp:cNvPr id="0" name=""/>
        <dsp:cNvSpPr/>
      </dsp:nvSpPr>
      <dsp:spPr>
        <a:xfrm>
          <a:off x="0" y="1118145"/>
          <a:ext cx="19050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14847E5-C4BD-9242-9B7A-17C1C7F2FFB2}">
      <dsp:nvSpPr>
        <dsp:cNvPr id="0" name=""/>
        <dsp:cNvSpPr/>
      </dsp:nvSpPr>
      <dsp:spPr>
        <a:xfrm>
          <a:off x="0" y="1118145"/>
          <a:ext cx="1905001" cy="1116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How are our tax dollars spent?</a:t>
          </a:r>
        </a:p>
      </dsp:txBody>
      <dsp:txXfrm>
        <a:off x="0" y="1118145"/>
        <a:ext cx="1905001" cy="1116508"/>
      </dsp:txXfrm>
    </dsp:sp>
    <dsp:sp modelId="{557F266B-9E2F-7541-AF88-AA1B885EDDB5}">
      <dsp:nvSpPr>
        <dsp:cNvPr id="0" name=""/>
        <dsp:cNvSpPr/>
      </dsp:nvSpPr>
      <dsp:spPr>
        <a:xfrm>
          <a:off x="0" y="2234654"/>
          <a:ext cx="1905001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5245A3E-118C-8842-AC0C-BAEC0B21F93E}">
      <dsp:nvSpPr>
        <dsp:cNvPr id="0" name=""/>
        <dsp:cNvSpPr/>
      </dsp:nvSpPr>
      <dsp:spPr>
        <a:xfrm>
          <a:off x="0" y="2234654"/>
          <a:ext cx="1905001" cy="11165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haracteristics of a tax system</a:t>
          </a:r>
        </a:p>
      </dsp:txBody>
      <dsp:txXfrm>
        <a:off x="0" y="2234654"/>
        <a:ext cx="1905001" cy="11165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1B6612-BCCE-B042-9A6C-F65712631A83}">
      <dsp:nvSpPr>
        <dsp:cNvPr id="0" name=""/>
        <dsp:cNvSpPr/>
      </dsp:nvSpPr>
      <dsp:spPr>
        <a:xfrm>
          <a:off x="0" y="2009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FA5C870-F99C-FF49-BFB5-B6DC764C0F74}">
      <dsp:nvSpPr>
        <dsp:cNvPr id="0" name=""/>
        <dsp:cNvSpPr/>
      </dsp:nvSpPr>
      <dsp:spPr>
        <a:xfrm>
          <a:off x="0" y="2009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1916</a:t>
          </a:r>
        </a:p>
      </dsp:txBody>
      <dsp:txXfrm>
        <a:off x="0" y="2009"/>
        <a:ext cx="2270760" cy="685130"/>
      </dsp:txXfrm>
    </dsp:sp>
    <dsp:sp modelId="{4D454942-FCED-3F4E-92A1-F3B9F2A58AF1}">
      <dsp:nvSpPr>
        <dsp:cNvPr id="0" name=""/>
        <dsp:cNvSpPr/>
      </dsp:nvSpPr>
      <dsp:spPr>
        <a:xfrm>
          <a:off x="2441067" y="33121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Business Profit War Tax</a:t>
          </a:r>
        </a:p>
      </dsp:txBody>
      <dsp:txXfrm>
        <a:off x="2441067" y="33121"/>
        <a:ext cx="8912733" cy="622237"/>
      </dsp:txXfrm>
    </dsp:sp>
    <dsp:sp modelId="{62A39CC5-439A-6C49-8C57-7C9E06B16FD0}">
      <dsp:nvSpPr>
        <dsp:cNvPr id="0" name=""/>
        <dsp:cNvSpPr/>
      </dsp:nvSpPr>
      <dsp:spPr>
        <a:xfrm>
          <a:off x="2270760" y="655358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3988298-E2EE-6942-83C6-A249A0BFFB10}">
      <dsp:nvSpPr>
        <dsp:cNvPr id="0" name=""/>
        <dsp:cNvSpPr/>
      </dsp:nvSpPr>
      <dsp:spPr>
        <a:xfrm>
          <a:off x="0" y="687139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07A9B04-B35D-A045-9E6A-B5E7F04BC29A}">
      <dsp:nvSpPr>
        <dsp:cNvPr id="0" name=""/>
        <dsp:cNvSpPr/>
      </dsp:nvSpPr>
      <dsp:spPr>
        <a:xfrm>
          <a:off x="0" y="687139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1917</a:t>
          </a:r>
        </a:p>
      </dsp:txBody>
      <dsp:txXfrm>
        <a:off x="0" y="687139"/>
        <a:ext cx="2270760" cy="685130"/>
      </dsp:txXfrm>
    </dsp:sp>
    <dsp:sp modelId="{247EF0BE-5FA4-2B4A-BC36-20AD5F3C7955}">
      <dsp:nvSpPr>
        <dsp:cNvPr id="0" name=""/>
        <dsp:cNvSpPr/>
      </dsp:nvSpPr>
      <dsp:spPr>
        <a:xfrm>
          <a:off x="2441067" y="718251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Income War Tax Act</a:t>
          </a:r>
        </a:p>
      </dsp:txBody>
      <dsp:txXfrm>
        <a:off x="2441067" y="718251"/>
        <a:ext cx="8912733" cy="622237"/>
      </dsp:txXfrm>
    </dsp:sp>
    <dsp:sp modelId="{76205FD9-7E14-314B-A0D8-969462E4A01E}">
      <dsp:nvSpPr>
        <dsp:cNvPr id="0" name=""/>
        <dsp:cNvSpPr/>
      </dsp:nvSpPr>
      <dsp:spPr>
        <a:xfrm>
          <a:off x="2270760" y="1340488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1754501-C96A-7744-9EEC-16C0F1E7EADA}">
      <dsp:nvSpPr>
        <dsp:cNvPr id="0" name=""/>
        <dsp:cNvSpPr/>
      </dsp:nvSpPr>
      <dsp:spPr>
        <a:xfrm>
          <a:off x="0" y="1372269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8D61255-211B-3F4B-9909-DB4307E7C6F2}">
      <dsp:nvSpPr>
        <dsp:cNvPr id="0" name=""/>
        <dsp:cNvSpPr/>
      </dsp:nvSpPr>
      <dsp:spPr>
        <a:xfrm>
          <a:off x="0" y="1372269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1927</a:t>
          </a:r>
        </a:p>
      </dsp:txBody>
      <dsp:txXfrm>
        <a:off x="0" y="1372269"/>
        <a:ext cx="2270760" cy="685130"/>
      </dsp:txXfrm>
    </dsp:sp>
    <dsp:sp modelId="{BA4F120F-58E4-2C40-A33C-FC4E2D8B97BD}">
      <dsp:nvSpPr>
        <dsp:cNvPr id="0" name=""/>
        <dsp:cNvSpPr/>
      </dsp:nvSpPr>
      <dsp:spPr>
        <a:xfrm>
          <a:off x="2441067" y="1403381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Department of Revenue</a:t>
          </a:r>
        </a:p>
      </dsp:txBody>
      <dsp:txXfrm>
        <a:off x="2441067" y="1403381"/>
        <a:ext cx="8912733" cy="622237"/>
      </dsp:txXfrm>
    </dsp:sp>
    <dsp:sp modelId="{261FFBB8-A936-D646-84B2-6A14CE0CA075}">
      <dsp:nvSpPr>
        <dsp:cNvPr id="0" name=""/>
        <dsp:cNvSpPr/>
      </dsp:nvSpPr>
      <dsp:spPr>
        <a:xfrm>
          <a:off x="2270760" y="2025619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5118120-6F3F-3D4A-97C0-1D8F62DB44F2}">
      <dsp:nvSpPr>
        <dsp:cNvPr id="0" name=""/>
        <dsp:cNvSpPr/>
      </dsp:nvSpPr>
      <dsp:spPr>
        <a:xfrm>
          <a:off x="0" y="2057400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48E9197-CFFB-A045-933C-C635EF025E6F}">
      <dsp:nvSpPr>
        <dsp:cNvPr id="0" name=""/>
        <dsp:cNvSpPr/>
      </dsp:nvSpPr>
      <dsp:spPr>
        <a:xfrm>
          <a:off x="0" y="2057400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1952</a:t>
          </a:r>
        </a:p>
      </dsp:txBody>
      <dsp:txXfrm>
        <a:off x="0" y="2057400"/>
        <a:ext cx="2270760" cy="685130"/>
      </dsp:txXfrm>
    </dsp:sp>
    <dsp:sp modelId="{90EB9402-5F02-064A-BE19-E30410CB602D}">
      <dsp:nvSpPr>
        <dsp:cNvPr id="0" name=""/>
        <dsp:cNvSpPr/>
      </dsp:nvSpPr>
      <dsp:spPr>
        <a:xfrm>
          <a:off x="2441067" y="2088511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Old Age Security Act</a:t>
          </a:r>
        </a:p>
      </dsp:txBody>
      <dsp:txXfrm>
        <a:off x="2441067" y="2088511"/>
        <a:ext cx="8912733" cy="622237"/>
      </dsp:txXfrm>
    </dsp:sp>
    <dsp:sp modelId="{9AED8BF8-9039-4B47-9E51-5BF380292C80}">
      <dsp:nvSpPr>
        <dsp:cNvPr id="0" name=""/>
        <dsp:cNvSpPr/>
      </dsp:nvSpPr>
      <dsp:spPr>
        <a:xfrm>
          <a:off x="2270760" y="2710749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52DF79A-87EC-C64B-AFCB-44150B99A339}">
      <dsp:nvSpPr>
        <dsp:cNvPr id="0" name=""/>
        <dsp:cNvSpPr/>
      </dsp:nvSpPr>
      <dsp:spPr>
        <a:xfrm>
          <a:off x="0" y="2742530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53FA29-BFCB-E944-A493-CDD95CEECA5D}">
      <dsp:nvSpPr>
        <dsp:cNvPr id="0" name=""/>
        <dsp:cNvSpPr/>
      </dsp:nvSpPr>
      <dsp:spPr>
        <a:xfrm>
          <a:off x="0" y="2742530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1991</a:t>
          </a:r>
        </a:p>
      </dsp:txBody>
      <dsp:txXfrm>
        <a:off x="0" y="2742530"/>
        <a:ext cx="2270760" cy="685130"/>
      </dsp:txXfrm>
    </dsp:sp>
    <dsp:sp modelId="{962DA4B9-1710-0D44-8536-3EF56B5BEC2B}">
      <dsp:nvSpPr>
        <dsp:cNvPr id="0" name=""/>
        <dsp:cNvSpPr/>
      </dsp:nvSpPr>
      <dsp:spPr>
        <a:xfrm>
          <a:off x="2441067" y="2773642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GST </a:t>
          </a:r>
          <a:endParaRPr lang="en-CA" sz="3100" kern="1200" dirty="0"/>
        </a:p>
      </dsp:txBody>
      <dsp:txXfrm>
        <a:off x="2441067" y="2773642"/>
        <a:ext cx="8912733" cy="622237"/>
      </dsp:txXfrm>
    </dsp:sp>
    <dsp:sp modelId="{1F8EAD91-D6EA-2247-8DB5-016AE8EFFC81}">
      <dsp:nvSpPr>
        <dsp:cNvPr id="0" name=""/>
        <dsp:cNvSpPr/>
      </dsp:nvSpPr>
      <dsp:spPr>
        <a:xfrm>
          <a:off x="2270760" y="3395879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AFF74FC-DD1D-B74B-B69F-34FF7D1A5BC1}">
      <dsp:nvSpPr>
        <dsp:cNvPr id="0" name=""/>
        <dsp:cNvSpPr/>
      </dsp:nvSpPr>
      <dsp:spPr>
        <a:xfrm>
          <a:off x="0" y="3427660"/>
          <a:ext cx="11353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7CDBA3A-0666-6341-9A2F-5935916319F6}">
      <dsp:nvSpPr>
        <dsp:cNvPr id="0" name=""/>
        <dsp:cNvSpPr/>
      </dsp:nvSpPr>
      <dsp:spPr>
        <a:xfrm>
          <a:off x="0" y="3427660"/>
          <a:ext cx="2270760" cy="685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300" kern="1200" dirty="0"/>
            <a:t>2007</a:t>
          </a:r>
        </a:p>
      </dsp:txBody>
      <dsp:txXfrm>
        <a:off x="0" y="3427660"/>
        <a:ext cx="2270760" cy="685130"/>
      </dsp:txXfrm>
    </dsp:sp>
    <dsp:sp modelId="{FA046FD9-5EDA-4D4E-A42A-D3E0B9406AE1}">
      <dsp:nvSpPr>
        <dsp:cNvPr id="0" name=""/>
        <dsp:cNvSpPr/>
      </dsp:nvSpPr>
      <dsp:spPr>
        <a:xfrm>
          <a:off x="2441067" y="3458772"/>
          <a:ext cx="8912733" cy="622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400" kern="1200" dirty="0"/>
            <a:t>Taxpayer Bill of Rights</a:t>
          </a:r>
        </a:p>
      </dsp:txBody>
      <dsp:txXfrm>
        <a:off x="2441067" y="3458772"/>
        <a:ext cx="8912733" cy="622237"/>
      </dsp:txXfrm>
    </dsp:sp>
    <dsp:sp modelId="{5B1D7F24-720C-1F48-B890-60849C9E35E9}">
      <dsp:nvSpPr>
        <dsp:cNvPr id="0" name=""/>
        <dsp:cNvSpPr/>
      </dsp:nvSpPr>
      <dsp:spPr>
        <a:xfrm>
          <a:off x="2270760" y="4081009"/>
          <a:ext cx="908304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6E0802-B7E6-CC40-BB6E-7F759DEEDBD9}">
      <dsp:nvSpPr>
        <dsp:cNvPr id="0" name=""/>
        <dsp:cNvSpPr/>
      </dsp:nvSpPr>
      <dsp:spPr>
        <a:xfrm>
          <a:off x="11319" y="527199"/>
          <a:ext cx="11588944" cy="63836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5740" tIns="102870" rIns="205740" bIns="102870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5400" kern="1200" dirty="0"/>
            <a:t>A history of taxation</a:t>
          </a:r>
          <a:endParaRPr lang="en-US" sz="5400" kern="1200" dirty="0"/>
        </a:p>
      </dsp:txBody>
      <dsp:txXfrm>
        <a:off x="42481" y="558361"/>
        <a:ext cx="11526620" cy="57603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C8A850-5CD7-4D40-A17D-7CD80AD51C6A}">
      <dsp:nvSpPr>
        <dsp:cNvPr id="0" name=""/>
        <dsp:cNvSpPr/>
      </dsp:nvSpPr>
      <dsp:spPr>
        <a:xfrm>
          <a:off x="0" y="2678"/>
          <a:ext cx="85344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4E0ECE1-AE74-FF4B-BF91-3B800CC7CE11}">
      <dsp:nvSpPr>
        <dsp:cNvPr id="0" name=""/>
        <dsp:cNvSpPr/>
      </dsp:nvSpPr>
      <dsp:spPr>
        <a:xfrm>
          <a:off x="0" y="2678"/>
          <a:ext cx="1706880" cy="1827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ypes of tax</a:t>
          </a:r>
        </a:p>
      </dsp:txBody>
      <dsp:txXfrm>
        <a:off x="0" y="2678"/>
        <a:ext cx="1706880" cy="1827014"/>
      </dsp:txXfrm>
    </dsp:sp>
    <dsp:sp modelId="{EDE74150-452D-6345-A28A-B1E681340DDE}">
      <dsp:nvSpPr>
        <dsp:cNvPr id="0" name=""/>
        <dsp:cNvSpPr/>
      </dsp:nvSpPr>
      <dsp:spPr>
        <a:xfrm>
          <a:off x="1834896" y="24156"/>
          <a:ext cx="6699504" cy="429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come tax</a:t>
          </a:r>
        </a:p>
      </dsp:txBody>
      <dsp:txXfrm>
        <a:off x="1834896" y="24156"/>
        <a:ext cx="6699504" cy="429544"/>
      </dsp:txXfrm>
    </dsp:sp>
    <dsp:sp modelId="{7AF1A5B2-1907-D349-A8E7-4E37AAAC76A8}">
      <dsp:nvSpPr>
        <dsp:cNvPr id="0" name=""/>
        <dsp:cNvSpPr/>
      </dsp:nvSpPr>
      <dsp:spPr>
        <a:xfrm>
          <a:off x="1706880" y="453700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1FC6FCCA-4555-F84C-8E0F-F51412FBB1F5}">
      <dsp:nvSpPr>
        <dsp:cNvPr id="0" name=""/>
        <dsp:cNvSpPr/>
      </dsp:nvSpPr>
      <dsp:spPr>
        <a:xfrm>
          <a:off x="1834896" y="475177"/>
          <a:ext cx="6699504" cy="429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PP</a:t>
          </a:r>
        </a:p>
      </dsp:txBody>
      <dsp:txXfrm>
        <a:off x="1834896" y="475177"/>
        <a:ext cx="6699504" cy="429544"/>
      </dsp:txXfrm>
    </dsp:sp>
    <dsp:sp modelId="{889FBEFA-D15D-234C-9FE9-CE6DCEA41A1E}">
      <dsp:nvSpPr>
        <dsp:cNvPr id="0" name=""/>
        <dsp:cNvSpPr/>
      </dsp:nvSpPr>
      <dsp:spPr>
        <a:xfrm>
          <a:off x="1706880" y="904722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6CB1478E-1A6E-054E-83B3-2EBE2F462A72}">
      <dsp:nvSpPr>
        <dsp:cNvPr id="0" name=""/>
        <dsp:cNvSpPr/>
      </dsp:nvSpPr>
      <dsp:spPr>
        <a:xfrm>
          <a:off x="1834896" y="926199"/>
          <a:ext cx="6699504" cy="429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I</a:t>
          </a:r>
        </a:p>
      </dsp:txBody>
      <dsp:txXfrm>
        <a:off x="1834896" y="926199"/>
        <a:ext cx="6699504" cy="429544"/>
      </dsp:txXfrm>
    </dsp:sp>
    <dsp:sp modelId="{43B6C156-A95A-7D4C-87B3-0BAB762A94BA}">
      <dsp:nvSpPr>
        <dsp:cNvPr id="0" name=""/>
        <dsp:cNvSpPr/>
      </dsp:nvSpPr>
      <dsp:spPr>
        <a:xfrm>
          <a:off x="1706880" y="1355744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65939D32-FDAC-FB45-8D18-EBAE5972AB6E}">
      <dsp:nvSpPr>
        <dsp:cNvPr id="0" name=""/>
        <dsp:cNvSpPr/>
      </dsp:nvSpPr>
      <dsp:spPr>
        <a:xfrm>
          <a:off x="1834896" y="1377221"/>
          <a:ext cx="6699504" cy="429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ales tax</a:t>
          </a:r>
        </a:p>
      </dsp:txBody>
      <dsp:txXfrm>
        <a:off x="1834896" y="1377221"/>
        <a:ext cx="6699504" cy="429544"/>
      </dsp:txXfrm>
    </dsp:sp>
    <dsp:sp modelId="{9D7A4277-19FF-3948-8827-56B00BF9DE8F}">
      <dsp:nvSpPr>
        <dsp:cNvPr id="0" name=""/>
        <dsp:cNvSpPr/>
      </dsp:nvSpPr>
      <dsp:spPr>
        <a:xfrm>
          <a:off x="1706880" y="1806766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677A7432-6742-BA49-A2F1-00C91D0F299D}">
      <dsp:nvSpPr>
        <dsp:cNvPr id="0" name=""/>
        <dsp:cNvSpPr/>
      </dsp:nvSpPr>
      <dsp:spPr>
        <a:xfrm>
          <a:off x="0" y="1829692"/>
          <a:ext cx="85344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06E67F2-58CC-564C-ABC8-FA02B0DC9893}">
      <dsp:nvSpPr>
        <dsp:cNvPr id="0" name=""/>
        <dsp:cNvSpPr/>
      </dsp:nvSpPr>
      <dsp:spPr>
        <a:xfrm>
          <a:off x="0" y="1829692"/>
          <a:ext cx="1706880" cy="1827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ource deductions</a:t>
          </a:r>
        </a:p>
      </dsp:txBody>
      <dsp:txXfrm>
        <a:off x="0" y="1829692"/>
        <a:ext cx="1706880" cy="1827014"/>
      </dsp:txXfrm>
    </dsp:sp>
    <dsp:sp modelId="{198745F6-434D-EC40-9BEB-3A2D0D410B39}">
      <dsp:nvSpPr>
        <dsp:cNvPr id="0" name=""/>
        <dsp:cNvSpPr/>
      </dsp:nvSpPr>
      <dsp:spPr>
        <a:xfrm>
          <a:off x="1834896" y="1912657"/>
          <a:ext cx="6699504" cy="16592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mounts withheld at source by employers</a:t>
          </a:r>
        </a:p>
      </dsp:txBody>
      <dsp:txXfrm>
        <a:off x="1834896" y="1912657"/>
        <a:ext cx="6699504" cy="1659299"/>
      </dsp:txXfrm>
    </dsp:sp>
    <dsp:sp modelId="{3DD48F21-5148-8446-84FB-F93917FFBBDB}">
      <dsp:nvSpPr>
        <dsp:cNvPr id="0" name=""/>
        <dsp:cNvSpPr/>
      </dsp:nvSpPr>
      <dsp:spPr>
        <a:xfrm>
          <a:off x="1706880" y="3571957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5400F4BD-1252-D34C-9566-2A0A859C9563}">
      <dsp:nvSpPr>
        <dsp:cNvPr id="0" name=""/>
        <dsp:cNvSpPr/>
      </dsp:nvSpPr>
      <dsp:spPr>
        <a:xfrm>
          <a:off x="0" y="3656707"/>
          <a:ext cx="85344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8961A9E-A27B-434B-B919-1DCF3CE3DEF4}">
      <dsp:nvSpPr>
        <dsp:cNvPr id="0" name=""/>
        <dsp:cNvSpPr/>
      </dsp:nvSpPr>
      <dsp:spPr>
        <a:xfrm>
          <a:off x="0" y="3656707"/>
          <a:ext cx="1706880" cy="18270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efunds?</a:t>
          </a:r>
        </a:p>
      </dsp:txBody>
      <dsp:txXfrm>
        <a:off x="0" y="3656707"/>
        <a:ext cx="1706880" cy="1827014"/>
      </dsp:txXfrm>
    </dsp:sp>
    <dsp:sp modelId="{2B95B9A8-0C54-754F-8341-5BE5B2740281}">
      <dsp:nvSpPr>
        <dsp:cNvPr id="0" name=""/>
        <dsp:cNvSpPr/>
      </dsp:nvSpPr>
      <dsp:spPr>
        <a:xfrm>
          <a:off x="1834896" y="3685254"/>
          <a:ext cx="6699504" cy="570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oo much tax withheld</a:t>
          </a:r>
        </a:p>
      </dsp:txBody>
      <dsp:txXfrm>
        <a:off x="1834896" y="3685254"/>
        <a:ext cx="6699504" cy="570941"/>
      </dsp:txXfrm>
    </dsp:sp>
    <dsp:sp modelId="{2E0D7490-D9D8-0646-B41E-AA70AA155E81}">
      <dsp:nvSpPr>
        <dsp:cNvPr id="0" name=""/>
        <dsp:cNvSpPr/>
      </dsp:nvSpPr>
      <dsp:spPr>
        <a:xfrm>
          <a:off x="1706880" y="4256196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9ADB3748-6365-494E-ADE0-1CC1FC708257}">
      <dsp:nvSpPr>
        <dsp:cNvPr id="0" name=""/>
        <dsp:cNvSpPr/>
      </dsp:nvSpPr>
      <dsp:spPr>
        <a:xfrm>
          <a:off x="1834896" y="4284743"/>
          <a:ext cx="6699504" cy="570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xcess instalments</a:t>
          </a:r>
        </a:p>
      </dsp:txBody>
      <dsp:txXfrm>
        <a:off x="1834896" y="4284743"/>
        <a:ext cx="6699504" cy="570941"/>
      </dsp:txXfrm>
    </dsp:sp>
    <dsp:sp modelId="{0A56D8DB-C951-C645-BAAC-B550996EF58B}">
      <dsp:nvSpPr>
        <dsp:cNvPr id="0" name=""/>
        <dsp:cNvSpPr/>
      </dsp:nvSpPr>
      <dsp:spPr>
        <a:xfrm>
          <a:off x="1706880" y="4855685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C19B6D76-EAD3-7C4C-9916-1A05EBB1A8B1}">
      <dsp:nvSpPr>
        <dsp:cNvPr id="0" name=""/>
        <dsp:cNvSpPr/>
      </dsp:nvSpPr>
      <dsp:spPr>
        <a:xfrm>
          <a:off x="1834896" y="4884232"/>
          <a:ext cx="6699504" cy="570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x credits</a:t>
          </a:r>
        </a:p>
      </dsp:txBody>
      <dsp:txXfrm>
        <a:off x="1834896" y="4884232"/>
        <a:ext cx="6699504" cy="570941"/>
      </dsp:txXfrm>
    </dsp:sp>
    <dsp:sp modelId="{E024E9B7-1739-6E4C-B30E-EF302D38C46B}">
      <dsp:nvSpPr>
        <dsp:cNvPr id="0" name=""/>
        <dsp:cNvSpPr/>
      </dsp:nvSpPr>
      <dsp:spPr>
        <a:xfrm>
          <a:off x="1706880" y="5455173"/>
          <a:ext cx="682752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FB99AD-28F5-044D-A969-A999FAF811AF}">
      <dsp:nvSpPr>
        <dsp:cNvPr id="0" name=""/>
        <dsp:cNvSpPr/>
      </dsp:nvSpPr>
      <dsp:spPr>
        <a:xfrm>
          <a:off x="0" y="2306"/>
          <a:ext cx="9067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373D1E8-1C61-0346-96CB-CE6065B4D88D}">
      <dsp:nvSpPr>
        <dsp:cNvPr id="0" name=""/>
        <dsp:cNvSpPr/>
      </dsp:nvSpPr>
      <dsp:spPr>
        <a:xfrm>
          <a:off x="0" y="2306"/>
          <a:ext cx="1813560" cy="1573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About the CRA</a:t>
          </a:r>
        </a:p>
      </dsp:txBody>
      <dsp:txXfrm>
        <a:off x="0" y="2306"/>
        <a:ext cx="1813560" cy="1573262"/>
      </dsp:txXfrm>
    </dsp:sp>
    <dsp:sp modelId="{74DDC283-03E3-F847-810B-7ADD002C3C1F}">
      <dsp:nvSpPr>
        <dsp:cNvPr id="0" name=""/>
        <dsp:cNvSpPr/>
      </dsp:nvSpPr>
      <dsp:spPr>
        <a:xfrm>
          <a:off x="1949577" y="73748"/>
          <a:ext cx="7118223" cy="1428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Administer tax, benefits &amp; programs</a:t>
          </a:r>
        </a:p>
      </dsp:txBody>
      <dsp:txXfrm>
        <a:off x="1949577" y="73748"/>
        <a:ext cx="7118223" cy="1428841"/>
      </dsp:txXfrm>
    </dsp:sp>
    <dsp:sp modelId="{068C78E0-F592-424B-B250-445120BD9FEF}">
      <dsp:nvSpPr>
        <dsp:cNvPr id="0" name=""/>
        <dsp:cNvSpPr/>
      </dsp:nvSpPr>
      <dsp:spPr>
        <a:xfrm>
          <a:off x="1813560" y="1502590"/>
          <a:ext cx="72542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066E2EBE-7144-CB46-81AE-061763AD0BF0}">
      <dsp:nvSpPr>
        <dsp:cNvPr id="0" name=""/>
        <dsp:cNvSpPr/>
      </dsp:nvSpPr>
      <dsp:spPr>
        <a:xfrm>
          <a:off x="0" y="1575568"/>
          <a:ext cx="9067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B66C32B-7536-AE4E-97D9-83CC31A8893C}">
      <dsp:nvSpPr>
        <dsp:cNvPr id="0" name=""/>
        <dsp:cNvSpPr/>
      </dsp:nvSpPr>
      <dsp:spPr>
        <a:xfrm>
          <a:off x="0" y="1575568"/>
          <a:ext cx="1813560" cy="1573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RA website</a:t>
          </a:r>
        </a:p>
      </dsp:txBody>
      <dsp:txXfrm>
        <a:off x="0" y="1575568"/>
        <a:ext cx="1813560" cy="1573262"/>
      </dsp:txXfrm>
    </dsp:sp>
    <dsp:sp modelId="{818782B1-2DE4-5A47-8E96-D536BA01BD98}">
      <dsp:nvSpPr>
        <dsp:cNvPr id="0" name=""/>
        <dsp:cNvSpPr/>
      </dsp:nvSpPr>
      <dsp:spPr>
        <a:xfrm>
          <a:off x="1949577" y="1647011"/>
          <a:ext cx="7118223" cy="14288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 dirty="0"/>
        </a:p>
      </dsp:txBody>
      <dsp:txXfrm>
        <a:off x="1949577" y="1647011"/>
        <a:ext cx="7118223" cy="1428841"/>
      </dsp:txXfrm>
    </dsp:sp>
    <dsp:sp modelId="{E962DD66-32C9-A849-A3EE-1F2A3CEEB3BE}">
      <dsp:nvSpPr>
        <dsp:cNvPr id="0" name=""/>
        <dsp:cNvSpPr/>
      </dsp:nvSpPr>
      <dsp:spPr>
        <a:xfrm>
          <a:off x="1813560" y="3075852"/>
          <a:ext cx="72542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C84672D9-4B24-A04A-99E1-4F37CBA4FAB1}">
      <dsp:nvSpPr>
        <dsp:cNvPr id="0" name=""/>
        <dsp:cNvSpPr/>
      </dsp:nvSpPr>
      <dsp:spPr>
        <a:xfrm>
          <a:off x="0" y="3148831"/>
          <a:ext cx="9067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AE84786-E6E5-594B-9EC9-A9D77E7EA5BF}">
      <dsp:nvSpPr>
        <dsp:cNvPr id="0" name=""/>
        <dsp:cNvSpPr/>
      </dsp:nvSpPr>
      <dsp:spPr>
        <a:xfrm>
          <a:off x="0" y="3148831"/>
          <a:ext cx="1813560" cy="1573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RA programs</a:t>
          </a:r>
        </a:p>
      </dsp:txBody>
      <dsp:txXfrm>
        <a:off x="0" y="3148831"/>
        <a:ext cx="1813560" cy="1573262"/>
      </dsp:txXfrm>
    </dsp:sp>
    <dsp:sp modelId="{9329762C-D996-6F49-928F-D3FC413F054F}">
      <dsp:nvSpPr>
        <dsp:cNvPr id="0" name=""/>
        <dsp:cNvSpPr/>
      </dsp:nvSpPr>
      <dsp:spPr>
        <a:xfrm>
          <a:off x="1949577" y="3173413"/>
          <a:ext cx="7118223" cy="491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CCB</a:t>
          </a:r>
        </a:p>
      </dsp:txBody>
      <dsp:txXfrm>
        <a:off x="1949577" y="3173413"/>
        <a:ext cx="7118223" cy="491644"/>
      </dsp:txXfrm>
    </dsp:sp>
    <dsp:sp modelId="{8D17643D-438C-CD44-A596-4FC085394B9F}">
      <dsp:nvSpPr>
        <dsp:cNvPr id="0" name=""/>
        <dsp:cNvSpPr/>
      </dsp:nvSpPr>
      <dsp:spPr>
        <a:xfrm>
          <a:off x="1813560" y="3665057"/>
          <a:ext cx="72542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EF88068C-B2A5-AE45-B753-1E2782DC5D60}">
      <dsp:nvSpPr>
        <dsp:cNvPr id="0" name=""/>
        <dsp:cNvSpPr/>
      </dsp:nvSpPr>
      <dsp:spPr>
        <a:xfrm>
          <a:off x="1949577" y="3689639"/>
          <a:ext cx="7118223" cy="491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Tuition credit</a:t>
          </a:r>
        </a:p>
      </dsp:txBody>
      <dsp:txXfrm>
        <a:off x="1949577" y="3689639"/>
        <a:ext cx="7118223" cy="491644"/>
      </dsp:txXfrm>
    </dsp:sp>
    <dsp:sp modelId="{6B663B89-9EAA-C44D-A67A-489AB64040F9}">
      <dsp:nvSpPr>
        <dsp:cNvPr id="0" name=""/>
        <dsp:cNvSpPr/>
      </dsp:nvSpPr>
      <dsp:spPr>
        <a:xfrm>
          <a:off x="1813560" y="4181284"/>
          <a:ext cx="72542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84C97435-809E-934B-9CB5-A5FE0C36F894}">
      <dsp:nvSpPr>
        <dsp:cNvPr id="0" name=""/>
        <dsp:cNvSpPr/>
      </dsp:nvSpPr>
      <dsp:spPr>
        <a:xfrm>
          <a:off x="1949577" y="4205866"/>
          <a:ext cx="7118223" cy="4916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RESP &amp; RRSP</a:t>
          </a:r>
        </a:p>
      </dsp:txBody>
      <dsp:txXfrm>
        <a:off x="1949577" y="4205866"/>
        <a:ext cx="7118223" cy="491644"/>
      </dsp:txXfrm>
    </dsp:sp>
    <dsp:sp modelId="{79F4A79D-5D15-D941-8875-ABE81EB25708}">
      <dsp:nvSpPr>
        <dsp:cNvPr id="0" name=""/>
        <dsp:cNvSpPr/>
      </dsp:nvSpPr>
      <dsp:spPr>
        <a:xfrm>
          <a:off x="1813560" y="4697510"/>
          <a:ext cx="72542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4A7079-C8CD-C244-9DED-F8BE3FC1C856}">
      <dsp:nvSpPr>
        <dsp:cNvPr id="0" name=""/>
        <dsp:cNvSpPr/>
      </dsp:nvSpPr>
      <dsp:spPr>
        <a:xfrm>
          <a:off x="0" y="0"/>
          <a:ext cx="94361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543774D-B1FB-5B43-855E-CC9D9A4FD068}">
      <dsp:nvSpPr>
        <dsp:cNvPr id="0" name=""/>
        <dsp:cNvSpPr/>
      </dsp:nvSpPr>
      <dsp:spPr>
        <a:xfrm>
          <a:off x="0" y="0"/>
          <a:ext cx="1887220" cy="1263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RA information</a:t>
          </a:r>
        </a:p>
      </dsp:txBody>
      <dsp:txXfrm>
        <a:off x="0" y="0"/>
        <a:ext cx="1887220" cy="1263650"/>
      </dsp:txXfrm>
    </dsp:sp>
    <dsp:sp modelId="{4F86EE73-8E24-B847-BBFF-7EBE8BB88999}">
      <dsp:nvSpPr>
        <dsp:cNvPr id="0" name=""/>
        <dsp:cNvSpPr/>
      </dsp:nvSpPr>
      <dsp:spPr>
        <a:xfrm>
          <a:off x="2028761" y="57382"/>
          <a:ext cx="7407338" cy="1147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Employers, financial institutions, review of tax returns, assessment programs</a:t>
          </a:r>
        </a:p>
      </dsp:txBody>
      <dsp:txXfrm>
        <a:off x="2028761" y="57382"/>
        <a:ext cx="7407338" cy="1147650"/>
      </dsp:txXfrm>
    </dsp:sp>
    <dsp:sp modelId="{2FBCA2DD-3198-B54B-8721-31EE45D15FFC}">
      <dsp:nvSpPr>
        <dsp:cNvPr id="0" name=""/>
        <dsp:cNvSpPr/>
      </dsp:nvSpPr>
      <dsp:spPr>
        <a:xfrm>
          <a:off x="1887220" y="1205033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CB9A10EC-A9D6-6C45-A31E-6CF1BC757450}">
      <dsp:nvSpPr>
        <dsp:cNvPr id="0" name=""/>
        <dsp:cNvSpPr/>
      </dsp:nvSpPr>
      <dsp:spPr>
        <a:xfrm>
          <a:off x="0" y="1263650"/>
          <a:ext cx="94361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6F183D0-80B9-0C44-A78F-76FF6CB4253F}">
      <dsp:nvSpPr>
        <dsp:cNvPr id="0" name=""/>
        <dsp:cNvSpPr/>
      </dsp:nvSpPr>
      <dsp:spPr>
        <a:xfrm>
          <a:off x="0" y="1263650"/>
          <a:ext cx="1887220" cy="1263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x filing</a:t>
          </a:r>
        </a:p>
      </dsp:txBody>
      <dsp:txXfrm>
        <a:off x="0" y="1263650"/>
        <a:ext cx="1887220" cy="1263650"/>
      </dsp:txXfrm>
    </dsp:sp>
    <dsp:sp modelId="{200C9193-58CD-C346-A9C8-98FC07617D14}">
      <dsp:nvSpPr>
        <dsp:cNvPr id="0" name=""/>
        <dsp:cNvSpPr/>
      </dsp:nvSpPr>
      <dsp:spPr>
        <a:xfrm>
          <a:off x="2028761" y="1321032"/>
          <a:ext cx="7407338" cy="1147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ll income earners</a:t>
          </a:r>
        </a:p>
      </dsp:txBody>
      <dsp:txXfrm>
        <a:off x="2028761" y="1321032"/>
        <a:ext cx="7407338" cy="1147650"/>
      </dsp:txXfrm>
    </dsp:sp>
    <dsp:sp modelId="{308C7E2B-71C9-9340-A05D-1BF4AC4FA317}">
      <dsp:nvSpPr>
        <dsp:cNvPr id="0" name=""/>
        <dsp:cNvSpPr/>
      </dsp:nvSpPr>
      <dsp:spPr>
        <a:xfrm>
          <a:off x="1887220" y="2468683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0B1EDB9E-4329-E249-AE17-AF5FFE886313}">
      <dsp:nvSpPr>
        <dsp:cNvPr id="0" name=""/>
        <dsp:cNvSpPr/>
      </dsp:nvSpPr>
      <dsp:spPr>
        <a:xfrm>
          <a:off x="0" y="2527300"/>
          <a:ext cx="94361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018C49A-D9F6-BE40-A6B8-DFA39344D69B}">
      <dsp:nvSpPr>
        <dsp:cNvPr id="0" name=""/>
        <dsp:cNvSpPr/>
      </dsp:nvSpPr>
      <dsp:spPr>
        <a:xfrm>
          <a:off x="0" y="2527300"/>
          <a:ext cx="1887220" cy="1263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Filing options</a:t>
          </a:r>
        </a:p>
      </dsp:txBody>
      <dsp:txXfrm>
        <a:off x="0" y="2527300"/>
        <a:ext cx="1887220" cy="1263650"/>
      </dsp:txXfrm>
    </dsp:sp>
    <dsp:sp modelId="{3BF73C42-51B9-5147-9F8B-07D6C4CED623}">
      <dsp:nvSpPr>
        <dsp:cNvPr id="0" name=""/>
        <dsp:cNvSpPr/>
      </dsp:nvSpPr>
      <dsp:spPr>
        <a:xfrm>
          <a:off x="2028761" y="2547044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NetFile</a:t>
          </a:r>
        </a:p>
      </dsp:txBody>
      <dsp:txXfrm>
        <a:off x="2028761" y="2547044"/>
        <a:ext cx="7407338" cy="394890"/>
      </dsp:txXfrm>
    </dsp:sp>
    <dsp:sp modelId="{50DC4F02-3B1B-BF40-85FF-BD535EC63F34}">
      <dsp:nvSpPr>
        <dsp:cNvPr id="0" name=""/>
        <dsp:cNvSpPr/>
      </dsp:nvSpPr>
      <dsp:spPr>
        <a:xfrm>
          <a:off x="1887220" y="2941935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8D018946-6C61-F645-A6A9-4077789576FA}">
      <dsp:nvSpPr>
        <dsp:cNvPr id="0" name=""/>
        <dsp:cNvSpPr/>
      </dsp:nvSpPr>
      <dsp:spPr>
        <a:xfrm>
          <a:off x="2028761" y="2961679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EFILE</a:t>
          </a:r>
        </a:p>
      </dsp:txBody>
      <dsp:txXfrm>
        <a:off x="2028761" y="2961679"/>
        <a:ext cx="7407338" cy="394890"/>
      </dsp:txXfrm>
    </dsp:sp>
    <dsp:sp modelId="{B0C155C0-4606-1F4D-BD34-306B995F2EF8}">
      <dsp:nvSpPr>
        <dsp:cNvPr id="0" name=""/>
        <dsp:cNvSpPr/>
      </dsp:nvSpPr>
      <dsp:spPr>
        <a:xfrm>
          <a:off x="1887220" y="3356570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17286D33-6034-4B4F-9BD9-8DC7903AE237}">
      <dsp:nvSpPr>
        <dsp:cNvPr id="0" name=""/>
        <dsp:cNvSpPr/>
      </dsp:nvSpPr>
      <dsp:spPr>
        <a:xfrm>
          <a:off x="2028761" y="3376314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aper</a:t>
          </a:r>
        </a:p>
      </dsp:txBody>
      <dsp:txXfrm>
        <a:off x="2028761" y="3376314"/>
        <a:ext cx="7407338" cy="394890"/>
      </dsp:txXfrm>
    </dsp:sp>
    <dsp:sp modelId="{4E946A9C-F645-2D40-806D-B395DAC93818}">
      <dsp:nvSpPr>
        <dsp:cNvPr id="0" name=""/>
        <dsp:cNvSpPr/>
      </dsp:nvSpPr>
      <dsp:spPr>
        <a:xfrm>
          <a:off x="1887220" y="3771205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169A57DF-FD83-7640-B31F-C7891049E548}">
      <dsp:nvSpPr>
        <dsp:cNvPr id="0" name=""/>
        <dsp:cNvSpPr/>
      </dsp:nvSpPr>
      <dsp:spPr>
        <a:xfrm>
          <a:off x="0" y="3790950"/>
          <a:ext cx="94361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DE2516A-753D-2640-BE74-A5B9820ECAD1}">
      <dsp:nvSpPr>
        <dsp:cNvPr id="0" name=""/>
        <dsp:cNvSpPr/>
      </dsp:nvSpPr>
      <dsp:spPr>
        <a:xfrm>
          <a:off x="0" y="3790950"/>
          <a:ext cx="1887220" cy="1263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axpayer responsibilities</a:t>
          </a:r>
        </a:p>
      </dsp:txBody>
      <dsp:txXfrm>
        <a:off x="0" y="3790950"/>
        <a:ext cx="1887220" cy="1263650"/>
      </dsp:txXfrm>
    </dsp:sp>
    <dsp:sp modelId="{2D662902-04D0-BA40-B12C-D99C46F9B9BC}">
      <dsp:nvSpPr>
        <dsp:cNvPr id="0" name=""/>
        <dsp:cNvSpPr/>
      </dsp:nvSpPr>
      <dsp:spPr>
        <a:xfrm>
          <a:off x="2028761" y="3810694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Filing obligation</a:t>
          </a:r>
        </a:p>
      </dsp:txBody>
      <dsp:txXfrm>
        <a:off x="2028761" y="3810694"/>
        <a:ext cx="7407338" cy="394890"/>
      </dsp:txXfrm>
    </dsp:sp>
    <dsp:sp modelId="{E8F0755F-0F7A-D040-85B7-72201FC55689}">
      <dsp:nvSpPr>
        <dsp:cNvPr id="0" name=""/>
        <dsp:cNvSpPr/>
      </dsp:nvSpPr>
      <dsp:spPr>
        <a:xfrm>
          <a:off x="1887220" y="4205585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AC40D483-7D5F-A54F-9B55-AC41C09E7557}">
      <dsp:nvSpPr>
        <dsp:cNvPr id="0" name=""/>
        <dsp:cNvSpPr/>
      </dsp:nvSpPr>
      <dsp:spPr>
        <a:xfrm>
          <a:off x="2028761" y="4225329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aying correct amount</a:t>
          </a:r>
        </a:p>
      </dsp:txBody>
      <dsp:txXfrm>
        <a:off x="2028761" y="4225329"/>
        <a:ext cx="7407338" cy="394890"/>
      </dsp:txXfrm>
    </dsp:sp>
    <dsp:sp modelId="{502910B5-B9A3-7B40-AA8F-408E1AED23E3}">
      <dsp:nvSpPr>
        <dsp:cNvPr id="0" name=""/>
        <dsp:cNvSpPr/>
      </dsp:nvSpPr>
      <dsp:spPr>
        <a:xfrm>
          <a:off x="1887220" y="4620220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016BEDC1-1C15-0A40-B610-5EFE5B4314CC}">
      <dsp:nvSpPr>
        <dsp:cNvPr id="0" name=""/>
        <dsp:cNvSpPr/>
      </dsp:nvSpPr>
      <dsp:spPr>
        <a:xfrm>
          <a:off x="2028761" y="4639964"/>
          <a:ext cx="7407338" cy="394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elf-assessment</a:t>
          </a:r>
          <a:endParaRPr lang="en-US" sz="1900" kern="1200" dirty="0"/>
        </a:p>
      </dsp:txBody>
      <dsp:txXfrm>
        <a:off x="2028761" y="4639964"/>
        <a:ext cx="7407338" cy="394890"/>
      </dsp:txXfrm>
    </dsp:sp>
    <dsp:sp modelId="{4F83D7DA-9C6C-F34F-83E9-66639115456F}">
      <dsp:nvSpPr>
        <dsp:cNvPr id="0" name=""/>
        <dsp:cNvSpPr/>
      </dsp:nvSpPr>
      <dsp:spPr>
        <a:xfrm>
          <a:off x="1887220" y="5034855"/>
          <a:ext cx="754888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3969AFCD-3589-4BCD-B1CD-5D68B5A45A62}" type="datetimeFigureOut">
              <a:rPr lang="en-CA" smtClean="0"/>
              <a:t>2020-12-13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DB55A2A7-17EB-4531-ACA7-9942674A0C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3610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C9078E22-508E-460D-B418-3C5F4B0802A2}" type="datetimeFigureOut">
              <a:rPr lang="en-US" smtClean="0"/>
              <a:t>12/13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1" tIns="47425" rIns="94851" bIns="474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4851" tIns="47425" rIns="94851" bIns="474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6B19A31D-4D4F-47CE-9926-B2771FC72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67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04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fer</a:t>
            </a:r>
            <a:r>
              <a:rPr lang="en-CA" baseline="0" dirty="0"/>
              <a:t> to Page 7 and discuss</a:t>
            </a:r>
          </a:p>
          <a:p>
            <a:r>
              <a:rPr lang="en-CA" baseline="0" dirty="0"/>
              <a:t>- Who collects tax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The programs paid by direct taxation</a:t>
            </a:r>
          </a:p>
          <a:p>
            <a:endParaRPr lang="en-CA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fer</a:t>
            </a:r>
            <a:r>
              <a:rPr lang="en-CA" baseline="0" dirty="0"/>
              <a:t> to Page 9 and discus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- Characteristics of a tax system</a:t>
            </a:r>
          </a:p>
          <a:p>
            <a:endParaRPr lang="en-CA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521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fer</a:t>
            </a:r>
            <a:r>
              <a:rPr lang="en-CA" baseline="0" dirty="0"/>
              <a:t> to Page 10 and discuss</a:t>
            </a:r>
          </a:p>
          <a:p>
            <a:endParaRPr lang="en-CA" baseline="0" dirty="0"/>
          </a:p>
          <a:p>
            <a:pPr marL="171450" indent="-171450">
              <a:buFontTx/>
              <a:buChar char="-"/>
            </a:pPr>
            <a:r>
              <a:rPr lang="en-CA" baseline="0" dirty="0"/>
              <a:t>History of world taxes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Canadian taxation before confederation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1916: Business Profit War tax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1917: Income War Tax Act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1927: Department of Revenue founded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1952: Old Age Security Act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1991: GST implemented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2007: Taxpayer Bill of Righ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081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fer</a:t>
            </a:r>
            <a:r>
              <a:rPr lang="en-CA" baseline="0" dirty="0"/>
              <a:t> to Page 9 and discuss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Different types of tax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Source deductions defined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What triggers refunds?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Too much tax withheld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Excess instalments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Tax credits</a:t>
            </a:r>
          </a:p>
          <a:p>
            <a:endParaRPr lang="en-CA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fer</a:t>
            </a:r>
            <a:r>
              <a:rPr lang="en-CA" baseline="0" dirty="0"/>
              <a:t> to Page 12 and discus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- Characteristics of a tax system</a:t>
            </a:r>
          </a:p>
          <a:p>
            <a:endParaRPr lang="en-CA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11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fer</a:t>
            </a:r>
            <a:r>
              <a:rPr lang="en-CA" baseline="0" dirty="0"/>
              <a:t> to Page 13 and discuss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About the CRA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Administers tax, benefits and programs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CRA website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CRA programs</a:t>
            </a:r>
          </a:p>
          <a:p>
            <a:endParaRPr lang="en-CA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2078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Refer</a:t>
            </a:r>
            <a:r>
              <a:rPr lang="en-CA" baseline="0" dirty="0"/>
              <a:t> to Page 15 and discuss</a:t>
            </a:r>
          </a:p>
          <a:p>
            <a:pPr marL="171450" indent="-171450">
              <a:buFontTx/>
              <a:buChar char="-"/>
            </a:pPr>
            <a:r>
              <a:rPr lang="en-CA" baseline="0" dirty="0"/>
              <a:t>How CRA obtains information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Employers, financial institutions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Review of tax returns</a:t>
            </a:r>
          </a:p>
          <a:p>
            <a:pPr marL="628650" lvl="1" indent="-171450">
              <a:buFontTx/>
              <a:buChar char="-"/>
            </a:pPr>
            <a:r>
              <a:rPr lang="en-CA" baseline="0" dirty="0"/>
              <a:t>Assessment program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fer</a:t>
            </a:r>
            <a:r>
              <a:rPr lang="en-CA" baseline="0" dirty="0"/>
              <a:t> to Page 17s and discus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CA" baseline="0" dirty="0"/>
              <a:t>Who should file a tax retur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CA" baseline="0" dirty="0"/>
              <a:t>Filing options include Paper; </a:t>
            </a:r>
            <a:r>
              <a:rPr lang="en-CA" baseline="0" dirty="0" err="1"/>
              <a:t>NetFile</a:t>
            </a:r>
            <a:r>
              <a:rPr lang="en-CA" baseline="0" dirty="0"/>
              <a:t> and EFILE</a:t>
            </a:r>
          </a:p>
          <a:p>
            <a:endParaRPr lang="en-CA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Refer</a:t>
            </a:r>
            <a:r>
              <a:rPr lang="en-CA" baseline="0" dirty="0"/>
              <a:t> to Page 16 and discuss what happens after you fil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CA" baseline="0" dirty="0"/>
              <a:t>Notice of Assessm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CA" baseline="0" dirty="0"/>
              <a:t>Four </a:t>
            </a:r>
            <a:r>
              <a:rPr lang="mr-IN" baseline="0" dirty="0"/>
              <a:t>–</a:t>
            </a:r>
            <a:r>
              <a:rPr lang="en-CA" baseline="0" dirty="0"/>
              <a:t> Six weeks if paper filed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CA" baseline="0" dirty="0"/>
              <a:t>Two weeks if electronically filed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Refer to Page 17  and discuss taxpayer responsibilitie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CA" baseline="0" dirty="0"/>
              <a:t>Obligation to file and pay tax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CA" baseline="0" dirty="0"/>
              <a:t>Self-assessme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CA" baseline="0" dirty="0"/>
          </a:p>
          <a:p>
            <a:endParaRPr lang="en-CA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28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rofile-background.g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226" y="609600"/>
            <a:ext cx="5741773" cy="624840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4AD69C48-1A55-A744-96DC-6BD26E535E94}" type="datetimeFigureOut">
              <a:rPr lang="en-US" smtClean="0"/>
              <a:t>12/13/20</a:t>
            </a:fld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5000"/>
              </a:lnSpc>
              <a:defRPr sz="6996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pic>
        <p:nvPicPr>
          <p:cNvPr id="10" name="Picture 9" descr="profile logo copy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211" y="527468"/>
            <a:ext cx="1812367" cy="519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675438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2623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Thr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8821" cy="685799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7824141" y="331846"/>
            <a:ext cx="3909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999" dirty="0">
                <a:solidFill>
                  <a:schemeClr val="bg1"/>
                </a:solidFill>
                <a:latin typeface="Avenir Next Medium"/>
              </a:rPr>
              <a:t>#</a:t>
            </a:r>
            <a:r>
              <a:rPr lang="en-CA" sz="1999" dirty="0">
                <a:solidFill>
                  <a:schemeClr val="bg1"/>
                </a:solidFill>
                <a:latin typeface="Avenir Next Regular"/>
              </a:rPr>
              <a:t>Intuit</a:t>
            </a:r>
            <a:r>
              <a:rPr lang="en-CA" sz="1999" dirty="0">
                <a:solidFill>
                  <a:schemeClr val="bg1"/>
                </a:solidFill>
                <a:latin typeface="Avenir Next Medium"/>
              </a:rPr>
              <a:t>THRIVE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04691" y="1087338"/>
            <a:ext cx="9835853" cy="2387600"/>
          </a:xfrm>
        </p:spPr>
        <p:txBody>
          <a:bodyPr anchor="b"/>
          <a:lstStyle>
            <a:lvl1pPr algn="l"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04691" y="3567014"/>
            <a:ext cx="9835853" cy="165576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</a:defRPr>
            </a:lvl1pPr>
            <a:lvl2pPr marL="457064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90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6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23777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529584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49" y="4086856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896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23412" y="702469"/>
            <a:ext cx="2802894" cy="123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667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877291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73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41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3213" y="990600"/>
            <a:ext cx="11582400" cy="5410200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defRPr sz="2600">
                <a:solidFill>
                  <a:schemeClr val="tx2"/>
                </a:solidFill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400">
                <a:solidFill>
                  <a:schemeClr val="tx2"/>
                </a:solidFill>
              </a:defRPr>
            </a:lvl2pPr>
            <a:lvl3pPr marL="11430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4pPr>
            <a:lvl5pPr marL="20574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86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29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732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7FC1EB-0E93-49BC-A789-875D1A7F4D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7812" y="6171784"/>
            <a:ext cx="1548420" cy="68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87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8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25" y="304800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5103256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buFont typeface="Wingdings" panose="05000000000000000000" pitchFamily="2" charset="2"/>
              <a:buChar char="v"/>
              <a:defRPr sz="2400">
                <a:solidFill>
                  <a:schemeClr val="tx2"/>
                </a:solidFill>
              </a:defRPr>
            </a:lvl1pPr>
            <a:lvl2pPr marL="7429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2pPr>
            <a:lvl3pPr marL="11430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3pPr>
            <a:lvl4pPr marL="16002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4pPr>
            <a:lvl5pPr marL="20574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033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286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02" r:id="rId2"/>
    <p:sldLayoutId id="2147483797" r:id="rId3"/>
    <p:sldLayoutId id="2147483795" r:id="rId4"/>
    <p:sldLayoutId id="2147483796" r:id="rId5"/>
    <p:sldLayoutId id="2147483798" r:id="rId6"/>
    <p:sldLayoutId id="2147483799" r:id="rId7"/>
    <p:sldLayoutId id="2147483800" r:id="rId8"/>
    <p:sldLayoutId id="2147483801" r:id="rId9"/>
    <p:sldLayoutId id="2147483803" r:id="rId10"/>
    <p:sldLayoutId id="214748381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in.gc.ca/afr-rfa/2019/report-rapport-eng.asp#_Toc525903642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anada.ca/en/services/taxes/income-tax.html" TargetMode="Externa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Learning about Taxes with Intuit ProFile </a:t>
            </a:r>
            <a:br>
              <a:rPr lang="en-US" sz="5400" dirty="0"/>
            </a:b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1276472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Chapter 1</a:t>
            </a:r>
            <a:br>
              <a:rPr lang="en-US" sz="5400" dirty="0"/>
            </a:br>
            <a:r>
              <a:rPr lang="en-US" sz="5400" dirty="0"/>
              <a:t>All about taxation</a:t>
            </a: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578964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1BDC80C-E044-484D-9762-9AFFED71A8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812" y="1447800"/>
            <a:ext cx="4795966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496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0546810"/>
              </p:ext>
            </p:extLst>
          </p:nvPr>
        </p:nvGraphicFramePr>
        <p:xfrm>
          <a:off x="531813" y="1524000"/>
          <a:ext cx="1905001" cy="3352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54643" y="5410200"/>
            <a:ext cx="93341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Source: </a:t>
            </a:r>
            <a:r>
              <a:rPr lang="en-US" u="sng" dirty="0">
                <a:hlinkClick r:id="rId8"/>
              </a:rPr>
              <a:t>https://www.fin.gc.ca/afr-rfa/2019/report-rapport-eng.asp#_Toc525903642</a:t>
            </a:r>
            <a:endParaRPr lang="en-CA" dirty="0"/>
          </a:p>
          <a:p>
            <a:endParaRPr lang="en-CA" dirty="0"/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7EC99D3B-8C7B-5F46-A032-B31D42AB943C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2894012" y="457200"/>
            <a:ext cx="8763000" cy="4751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748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79502529"/>
              </p:ext>
            </p:extLst>
          </p:nvPr>
        </p:nvGraphicFramePr>
        <p:xfrm>
          <a:off x="513948" y="2057400"/>
          <a:ext cx="113538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3952079"/>
              </p:ext>
            </p:extLst>
          </p:nvPr>
        </p:nvGraphicFramePr>
        <p:xfrm>
          <a:off x="294280" y="228600"/>
          <a:ext cx="11600264" cy="1397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88377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5040433"/>
              </p:ext>
            </p:extLst>
          </p:nvPr>
        </p:nvGraphicFramePr>
        <p:xfrm>
          <a:off x="2284412" y="1371600"/>
          <a:ext cx="85344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25978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1279156"/>
              </p:ext>
            </p:extLst>
          </p:nvPr>
        </p:nvGraphicFramePr>
        <p:xfrm>
          <a:off x="1141412" y="1016000"/>
          <a:ext cx="90678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46412" y="3124200"/>
            <a:ext cx="853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8"/>
              </a:rPr>
              <a:t>https://www.canada.ca/en/services/taxes/income-tax.html</a:t>
            </a:r>
            <a:endParaRPr lang="en-US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304148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0029735"/>
              </p:ext>
            </p:extLst>
          </p:nvPr>
        </p:nvGraphicFramePr>
        <p:xfrm>
          <a:off x="1001712" y="1041400"/>
          <a:ext cx="9436100" cy="505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41538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End</a:t>
            </a: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1779624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Intuit Template - White Background - Widescreen [Read-Only]" id="{F225971D-B64B-41D1-A728-2636CCD64A25}" vid="{97301D22-312C-4BB4-A39D-16453ABE4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 Intuit Template - White Background - Widescreen July 2014</Template>
  <TotalTime>37298</TotalTime>
  <Words>395</Words>
  <Application>Microsoft Macintosh PowerPoint</Application>
  <PresentationFormat>Custom</PresentationFormat>
  <Paragraphs>106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venir Next Medium</vt:lpstr>
      <vt:lpstr>Avenir Next Regular</vt:lpstr>
      <vt:lpstr>Calibri</vt:lpstr>
      <vt:lpstr>Times</vt:lpstr>
      <vt:lpstr>Wingdings</vt:lpstr>
      <vt:lpstr>1_White Template Blue Intuit Logo</vt:lpstr>
      <vt:lpstr>think-cell Slide</vt:lpstr>
      <vt:lpstr>Learning about Taxes with Intuit ProFile  </vt:lpstr>
      <vt:lpstr>Chapter 1 All about tax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M Offer Template</dc:title>
  <dc:creator>Magner, Barb</dc:creator>
  <cp:lastModifiedBy>Michael Di Lauro</cp:lastModifiedBy>
  <cp:revision>583</cp:revision>
  <cp:lastPrinted>2017-01-10T23:11:41Z</cp:lastPrinted>
  <dcterms:created xsi:type="dcterms:W3CDTF">2014-09-11T15:23:46Z</dcterms:created>
  <dcterms:modified xsi:type="dcterms:W3CDTF">2020-12-13T17:34:26Z</dcterms:modified>
</cp:coreProperties>
</file>